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498" r:id="rId3"/>
    <p:sldId id="471" r:id="rId4"/>
    <p:sldId id="481" r:id="rId5"/>
    <p:sldId id="534" r:id="rId6"/>
    <p:sldId id="473" r:id="rId7"/>
    <p:sldId id="489" r:id="rId8"/>
    <p:sldId id="499" r:id="rId9"/>
    <p:sldId id="503" r:id="rId10"/>
    <p:sldId id="474" r:id="rId11"/>
    <p:sldId id="507" r:id="rId12"/>
    <p:sldId id="508" r:id="rId13"/>
    <p:sldId id="515" r:id="rId14"/>
    <p:sldId id="514" r:id="rId15"/>
    <p:sldId id="475" r:id="rId16"/>
    <p:sldId id="506" r:id="rId17"/>
    <p:sldId id="476" r:id="rId18"/>
    <p:sldId id="511" r:id="rId19"/>
    <p:sldId id="510" r:id="rId20"/>
    <p:sldId id="530" r:id="rId21"/>
    <p:sldId id="532" r:id="rId22"/>
    <p:sldId id="518" r:id="rId23"/>
    <p:sldId id="520" r:id="rId24"/>
    <p:sldId id="523" r:id="rId25"/>
    <p:sldId id="524" r:id="rId26"/>
    <p:sldId id="526" r:id="rId27"/>
    <p:sldId id="529" r:id="rId28"/>
    <p:sldId id="512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498"/>
            <p14:sldId id="471"/>
            <p14:sldId id="481"/>
            <p14:sldId id="53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30"/>
            <p14:sldId id="532"/>
            <p14:sldId id="518"/>
            <p14:sldId id="520"/>
            <p14:sldId id="523"/>
            <p14:sldId id="524"/>
            <p14:sldId id="526"/>
            <p14:sldId id="529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F37B"/>
    <a:srgbClr val="046A38"/>
    <a:srgbClr val="00ABAB"/>
    <a:srgbClr val="FFFFFF"/>
    <a:srgbClr val="F04D0A"/>
    <a:srgbClr val="E58912"/>
    <a:srgbClr val="EB6A0E"/>
    <a:srgbClr val="F82705"/>
    <a:srgbClr val="E94605"/>
    <a:srgbClr val="E1CA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1CE135-2A9A-4930-9E42-58996822767B}" v="2" dt="2024-01-14T15:45:20.5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8" d="100"/>
          <a:sy n="78" d="100"/>
        </p:scale>
        <p:origin x="192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 Muszarsky" userId="baa567244c442e54" providerId="LiveId" clId="{121CE135-2A9A-4930-9E42-58996822767B}"/>
    <pc:docChg chg="undo custSel modSld">
      <pc:chgData name="Franz Muszarsky" userId="baa567244c442e54" providerId="LiveId" clId="{121CE135-2A9A-4930-9E42-58996822767B}" dt="2024-01-14T18:50:32.019" v="292" actId="1076"/>
      <pc:docMkLst>
        <pc:docMk/>
      </pc:docMkLst>
      <pc:sldChg chg="addSp delSp modSp mod">
        <pc:chgData name="Franz Muszarsky" userId="baa567244c442e54" providerId="LiveId" clId="{121CE135-2A9A-4930-9E42-58996822767B}" dt="2024-01-14T18:50:32.019" v="292" actId="1076"/>
        <pc:sldMkLst>
          <pc:docMk/>
          <pc:sldMk cId="2972820616" sldId="510"/>
        </pc:sldMkLst>
        <pc:spChg chg="mod">
          <ac:chgData name="Franz Muszarsky" userId="baa567244c442e54" providerId="LiveId" clId="{121CE135-2A9A-4930-9E42-58996822767B}" dt="2024-01-14T18:50:28.070" v="291" actId="1076"/>
          <ac:spMkLst>
            <pc:docMk/>
            <pc:sldMk cId="2972820616" sldId="510"/>
            <ac:spMk id="22" creationId="{918342BD-5E2C-01CA-60B7-8B4D9DDC0883}"/>
          </ac:spMkLst>
        </pc:spChg>
        <pc:spChg chg="mod">
          <ac:chgData name="Franz Muszarsky" userId="baa567244c442e54" providerId="LiveId" clId="{121CE135-2A9A-4930-9E42-58996822767B}" dt="2024-01-14T18:50:32.019" v="292" actId="1076"/>
          <ac:spMkLst>
            <pc:docMk/>
            <pc:sldMk cId="2972820616" sldId="510"/>
            <ac:spMk id="23" creationId="{102BE184-A4DB-F3CC-D338-155B20FE7FD2}"/>
          </ac:spMkLst>
        </pc:spChg>
        <pc:picChg chg="add mod">
          <ac:chgData name="Franz Muszarsky" userId="baa567244c442e54" providerId="LiveId" clId="{121CE135-2A9A-4930-9E42-58996822767B}" dt="2024-01-14T18:50:17.819" v="290" actId="1038"/>
          <ac:picMkLst>
            <pc:docMk/>
            <pc:sldMk cId="2972820616" sldId="510"/>
            <ac:picMk id="3" creationId="{9652DF65-5688-7D71-70DA-EBDC8EBC816D}"/>
          </ac:picMkLst>
        </pc:picChg>
        <pc:picChg chg="add mod">
          <ac:chgData name="Franz Muszarsky" userId="baa567244c442e54" providerId="LiveId" clId="{121CE135-2A9A-4930-9E42-58996822767B}" dt="2024-01-14T18:50:12.470" v="266" actId="1038"/>
          <ac:picMkLst>
            <pc:docMk/>
            <pc:sldMk cId="2972820616" sldId="510"/>
            <ac:picMk id="5" creationId="{1DCD2397-851B-356C-74BF-2FD79E572D45}"/>
          </ac:picMkLst>
        </pc:picChg>
        <pc:picChg chg="del">
          <ac:chgData name="Franz Muszarsky" userId="baa567244c442e54" providerId="LiveId" clId="{121CE135-2A9A-4930-9E42-58996822767B}" dt="2024-01-14T18:49:02.932" v="219" actId="478"/>
          <ac:picMkLst>
            <pc:docMk/>
            <pc:sldMk cId="2972820616" sldId="510"/>
            <ac:picMk id="46" creationId="{285C8617-B593-B0AF-FB74-C1DCE977DD89}"/>
          </ac:picMkLst>
        </pc:picChg>
        <pc:picChg chg="del">
          <ac:chgData name="Franz Muszarsky" userId="baa567244c442e54" providerId="LiveId" clId="{121CE135-2A9A-4930-9E42-58996822767B}" dt="2024-01-14T18:49:04.469" v="220" actId="478"/>
          <ac:picMkLst>
            <pc:docMk/>
            <pc:sldMk cId="2972820616" sldId="510"/>
            <ac:picMk id="48" creationId="{978B9A25-9188-7445-09AD-A17420A4F136}"/>
          </ac:picMkLst>
        </pc:picChg>
        <pc:picChg chg="del">
          <ac:chgData name="Franz Muszarsky" userId="baa567244c442e54" providerId="LiveId" clId="{121CE135-2A9A-4930-9E42-58996822767B}" dt="2024-01-14T18:48:58.690" v="216" actId="478"/>
          <ac:picMkLst>
            <pc:docMk/>
            <pc:sldMk cId="2972820616" sldId="510"/>
            <ac:picMk id="50" creationId="{8B1B91C5-16AF-6CB4-6FB5-17C8498BB283}"/>
          </ac:picMkLst>
        </pc:picChg>
        <pc:picChg chg="del">
          <ac:chgData name="Franz Muszarsky" userId="baa567244c442e54" providerId="LiveId" clId="{121CE135-2A9A-4930-9E42-58996822767B}" dt="2024-01-14T18:49:00.217" v="217" actId="478"/>
          <ac:picMkLst>
            <pc:docMk/>
            <pc:sldMk cId="2972820616" sldId="510"/>
            <ac:picMk id="52" creationId="{7DC2957D-FC66-AE87-A96E-337BE1150B89}"/>
          </ac:picMkLst>
        </pc:picChg>
      </pc:sldChg>
      <pc:sldChg chg="addSp delSp modSp mod">
        <pc:chgData name="Franz Muszarsky" userId="baa567244c442e54" providerId="LiveId" clId="{121CE135-2A9A-4930-9E42-58996822767B}" dt="2024-01-14T15:40:19.692" v="107" actId="1035"/>
        <pc:sldMkLst>
          <pc:docMk/>
          <pc:sldMk cId="103896984" sldId="511"/>
        </pc:sldMkLst>
        <pc:spChg chg="del">
          <ac:chgData name="Franz Muszarsky" userId="baa567244c442e54" providerId="LiveId" clId="{121CE135-2A9A-4930-9E42-58996822767B}" dt="2024-01-14T15:39:35.158" v="74" actId="478"/>
          <ac:spMkLst>
            <pc:docMk/>
            <pc:sldMk cId="103896984" sldId="511"/>
            <ac:spMk id="81" creationId="{6211F645-C122-CC8B-3E3A-D995129D8B6D}"/>
          </ac:spMkLst>
        </pc:spChg>
        <pc:picChg chg="add mod">
          <ac:chgData name="Franz Muszarsky" userId="baa567244c442e54" providerId="LiveId" clId="{121CE135-2A9A-4930-9E42-58996822767B}" dt="2024-01-14T15:40:19.692" v="107" actId="1035"/>
          <ac:picMkLst>
            <pc:docMk/>
            <pc:sldMk cId="103896984" sldId="511"/>
            <ac:picMk id="3" creationId="{F91E0BA9-CF0C-9042-080F-AB774D64B198}"/>
          </ac:picMkLst>
        </pc:picChg>
        <pc:picChg chg="add mod ord">
          <ac:chgData name="Franz Muszarsky" userId="baa567244c442e54" providerId="LiveId" clId="{121CE135-2A9A-4930-9E42-58996822767B}" dt="2024-01-14T15:39:58.396" v="86" actId="14100"/>
          <ac:picMkLst>
            <pc:docMk/>
            <pc:sldMk cId="103896984" sldId="511"/>
            <ac:picMk id="5" creationId="{AB7BA8FD-F597-8D95-1D1E-7023809ABEC8}"/>
          </ac:picMkLst>
        </pc:picChg>
        <pc:picChg chg="del">
          <ac:chgData name="Franz Muszarsky" userId="baa567244c442e54" providerId="LiveId" clId="{121CE135-2A9A-4930-9E42-58996822767B}" dt="2024-01-14T15:37:53.330" v="0" actId="478"/>
          <ac:picMkLst>
            <pc:docMk/>
            <pc:sldMk cId="103896984" sldId="511"/>
            <ac:picMk id="31" creationId="{BA6AA1A0-AAFE-2DFF-17CA-F1670ACFB2FF}"/>
          </ac:picMkLst>
        </pc:picChg>
        <pc:picChg chg="del">
          <ac:chgData name="Franz Muszarsky" userId="baa567244c442e54" providerId="LiveId" clId="{121CE135-2A9A-4930-9E42-58996822767B}" dt="2024-01-14T15:38:09.926" v="5" actId="478"/>
          <ac:picMkLst>
            <pc:docMk/>
            <pc:sldMk cId="103896984" sldId="511"/>
            <ac:picMk id="34" creationId="{7992E46B-B1F7-B48E-43CA-CFE370DD1727}"/>
          </ac:picMkLst>
        </pc:picChg>
      </pc:sldChg>
      <pc:sldChg chg="modSp mod">
        <pc:chgData name="Franz Muszarsky" userId="baa567244c442e54" providerId="LiveId" clId="{121CE135-2A9A-4930-9E42-58996822767B}" dt="2024-01-14T15:45:33.795" v="215" actId="20577"/>
        <pc:sldMkLst>
          <pc:docMk/>
          <pc:sldMk cId="3782156351" sldId="520"/>
        </pc:sldMkLst>
        <pc:spChg chg="mod">
          <ac:chgData name="Franz Muszarsky" userId="baa567244c442e54" providerId="LiveId" clId="{121CE135-2A9A-4930-9E42-58996822767B}" dt="2024-01-14T15:45:33.795" v="215" actId="20577"/>
          <ac:spMkLst>
            <pc:docMk/>
            <pc:sldMk cId="3782156351" sldId="520"/>
            <ac:spMk id="102" creationId="{0402D234-43C3-4A81-A5DE-722E3E0DABF0}"/>
          </ac:spMkLst>
        </pc:spChg>
        <pc:graphicFrameChg chg="modGraphic">
          <ac:chgData name="Franz Muszarsky" userId="baa567244c442e54" providerId="LiveId" clId="{121CE135-2A9A-4930-9E42-58996822767B}" dt="2024-01-14T15:44:18.076" v="211" actId="20577"/>
          <ac:graphicFrameMkLst>
            <pc:docMk/>
            <pc:sldMk cId="3782156351" sldId="520"/>
            <ac:graphicFrameMk id="33" creationId="{F0960C92-D203-623C-433A-A44A11A358B2}"/>
          </ac:graphicFrameMkLst>
        </pc:graphicFrameChg>
      </pc:sldChg>
      <pc:sldChg chg="modSp">
        <pc:chgData name="Franz Muszarsky" userId="baa567244c442e54" providerId="LiveId" clId="{121CE135-2A9A-4930-9E42-58996822767B}" dt="2024-01-14T15:45:20.516" v="213" actId="20577"/>
        <pc:sldMkLst>
          <pc:docMk/>
          <pc:sldMk cId="1150965661" sldId="523"/>
        </pc:sldMkLst>
        <pc:spChg chg="mod">
          <ac:chgData name="Franz Muszarsky" userId="baa567244c442e54" providerId="LiveId" clId="{121CE135-2A9A-4930-9E42-58996822767B}" dt="2024-01-14T15:45:20.516" v="213" actId="20577"/>
          <ac:spMkLst>
            <pc:docMk/>
            <pc:sldMk cId="1150965661" sldId="523"/>
            <ac:spMk id="29" creationId="{9563B150-C396-D374-0A19-08880394CB83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279901-A423-4DCE-81B3-15D313A7307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A15D8D5-C429-4D0C-8FFB-38B0E729BE42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Recreate</a:t>
          </a:r>
          <a:r>
            <a:rPr lang="de-DE" sz="1800" dirty="0"/>
            <a:t> Code in Python</a:t>
          </a:r>
        </a:p>
      </dgm:t>
    </dgm:pt>
    <dgm:pt modelId="{4D07A94A-C1C1-4721-A845-6653C7CDA16A}" type="parTrans" cxnId="{3C82DB6C-F80E-4EC3-9CFC-F6371C9D4D69}">
      <dgm:prSet/>
      <dgm:spPr/>
      <dgm:t>
        <a:bodyPr/>
        <a:lstStyle/>
        <a:p>
          <a:endParaRPr lang="de-DE"/>
        </a:p>
      </dgm:t>
    </dgm:pt>
    <dgm:pt modelId="{3D04D0E8-6258-4593-8D5D-A1894E86F829}" type="sibTrans" cxnId="{3C82DB6C-F80E-4EC3-9CFC-F6371C9D4D69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Understand</a:t>
          </a:r>
          <a:r>
            <a:rPr lang="de-DE" sz="1800" dirty="0"/>
            <a:t> </a:t>
          </a:r>
          <a:r>
            <a:rPr lang="de-DE" sz="1800" dirty="0" err="1"/>
            <a:t>Codebase</a:t>
          </a:r>
          <a:endParaRPr lang="de-DE" sz="1800" dirty="0"/>
        </a:p>
      </dgm:t>
    </dgm:pt>
    <dgm:pt modelId="{A541F1FE-9F12-46E5-850C-51CA31F642FE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Add </a:t>
          </a:r>
          <a:r>
            <a:rPr lang="de-DE" sz="1800" dirty="0" err="1"/>
            <a:t>extensions</a:t>
          </a:r>
          <a:endParaRPr lang="de-DE" sz="1800" dirty="0"/>
        </a:p>
      </dgm:t>
    </dgm:pt>
    <dgm:pt modelId="{EB97D544-9FCD-4FBD-BF57-04548BACBC80}" type="parTrans" cxnId="{8FCAC832-9563-4A8D-8298-42EA34574E02}">
      <dgm:prSet/>
      <dgm:spPr/>
      <dgm:t>
        <a:bodyPr/>
        <a:lstStyle/>
        <a:p>
          <a:endParaRPr lang="de-DE"/>
        </a:p>
      </dgm:t>
    </dgm:pt>
    <dgm:pt modelId="{9089C198-7259-44B1-A7D9-FCD3A7722689}" type="sibTrans" cxnId="{8FCAC832-9563-4A8D-8298-42EA34574E02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Find </a:t>
          </a:r>
          <a:r>
            <a:rPr lang="de-DE" sz="1800" dirty="0" err="1"/>
            <a:t>best</a:t>
          </a:r>
          <a:r>
            <a:rPr lang="de-DE" sz="1800" dirty="0"/>
            <a:t> </a:t>
          </a:r>
          <a:r>
            <a:rPr lang="de-DE" sz="1800" dirty="0" err="1"/>
            <a:t>parameters</a:t>
          </a:r>
          <a:endParaRPr lang="de-DE" sz="1800" dirty="0"/>
        </a:p>
      </dgm:t>
    </dgm:pt>
    <dgm:pt modelId="{71B50E39-B6A3-471A-9B09-1A3F205C7E22}" type="pres">
      <dgm:prSet presAssocID="{55279901-A423-4DCE-81B3-15D313A73071}" presName="Name0" presStyleCnt="0">
        <dgm:presLayoutVars>
          <dgm:chMax/>
          <dgm:chPref/>
          <dgm:dir/>
          <dgm:animLvl val="lvl"/>
        </dgm:presLayoutVars>
      </dgm:prSet>
      <dgm:spPr/>
    </dgm:pt>
    <dgm:pt modelId="{03AAD756-20DE-472F-B7D5-62C4EEAB72DF}" type="pres">
      <dgm:prSet presAssocID="{DA15D8D5-C429-4D0C-8FFB-38B0E729BE42}" presName="composite" presStyleCnt="0"/>
      <dgm:spPr/>
    </dgm:pt>
    <dgm:pt modelId="{8E94F6CF-3C6D-449A-839A-DC3F16E2EA2F}" type="pres">
      <dgm:prSet presAssocID="{DA15D8D5-C429-4D0C-8FFB-38B0E729BE42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48F91170-7DB7-4CBF-8BD9-0FF0747DBE74}" type="pres">
      <dgm:prSet presAssocID="{DA15D8D5-C429-4D0C-8FFB-38B0E729BE42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C8C98564-8661-467F-8BCD-3B419138B377}" type="pres">
      <dgm:prSet presAssocID="{DA15D8D5-C429-4D0C-8FFB-38B0E729BE42}" presName="BalanceSpacing" presStyleCnt="0"/>
      <dgm:spPr/>
    </dgm:pt>
    <dgm:pt modelId="{97B81D20-8DCD-40DC-935C-F325F44EAD1F}" type="pres">
      <dgm:prSet presAssocID="{DA15D8D5-C429-4D0C-8FFB-38B0E729BE42}" presName="BalanceSpacing1" presStyleCnt="0"/>
      <dgm:spPr/>
    </dgm:pt>
    <dgm:pt modelId="{AEBD023A-1EAB-4244-B92C-F52991F49330}" type="pres">
      <dgm:prSet presAssocID="{3D04D0E8-6258-4593-8D5D-A1894E86F829}" presName="Accent1Text" presStyleLbl="node1" presStyleIdx="1" presStyleCnt="4"/>
      <dgm:spPr/>
    </dgm:pt>
    <dgm:pt modelId="{0E039457-16A2-4606-8240-C2470909538D}" type="pres">
      <dgm:prSet presAssocID="{3D04D0E8-6258-4593-8D5D-A1894E86F829}" presName="spaceBetweenRectangles" presStyleCnt="0"/>
      <dgm:spPr/>
    </dgm:pt>
    <dgm:pt modelId="{C7EB9403-6F06-4FA5-BBB3-F6D6FC6BAC67}" type="pres">
      <dgm:prSet presAssocID="{A541F1FE-9F12-46E5-850C-51CA31F642FE}" presName="composite" presStyleCnt="0"/>
      <dgm:spPr/>
    </dgm:pt>
    <dgm:pt modelId="{9FF396AA-33F2-455B-9413-41F0F28B328C}" type="pres">
      <dgm:prSet presAssocID="{A541F1FE-9F12-46E5-850C-51CA31F642F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62092414-EAB9-463A-8D9B-91A3A743CCEC}" type="pres">
      <dgm:prSet presAssocID="{A541F1FE-9F12-46E5-850C-51CA31F642F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FEF26AA4-729E-46AB-AE37-2E2C4DAA1A4F}" type="pres">
      <dgm:prSet presAssocID="{A541F1FE-9F12-46E5-850C-51CA31F642FE}" presName="BalanceSpacing" presStyleCnt="0"/>
      <dgm:spPr/>
    </dgm:pt>
    <dgm:pt modelId="{87B22DBF-49A8-4214-ADE3-DB8660D75694}" type="pres">
      <dgm:prSet presAssocID="{A541F1FE-9F12-46E5-850C-51CA31F642FE}" presName="BalanceSpacing1" presStyleCnt="0"/>
      <dgm:spPr/>
    </dgm:pt>
    <dgm:pt modelId="{36E2313D-F53B-4EB3-9DC7-24EB9A4B7A8F}" type="pres">
      <dgm:prSet presAssocID="{9089C198-7259-44B1-A7D9-FCD3A7722689}" presName="Accent1Text" presStyleLbl="node1" presStyleIdx="3" presStyleCnt="4"/>
      <dgm:spPr/>
    </dgm:pt>
  </dgm:ptLst>
  <dgm:cxnLst>
    <dgm:cxn modelId="{6151131C-76E2-498B-B159-5F375DB1E8DB}" type="presOf" srcId="{3D04D0E8-6258-4593-8D5D-A1894E86F829}" destId="{AEBD023A-1EAB-4244-B92C-F52991F49330}" srcOrd="0" destOrd="0" presId="urn:microsoft.com/office/officeart/2008/layout/AlternatingHexagons"/>
    <dgm:cxn modelId="{8FCAC832-9563-4A8D-8298-42EA34574E02}" srcId="{55279901-A423-4DCE-81B3-15D313A73071}" destId="{A541F1FE-9F12-46E5-850C-51CA31F642FE}" srcOrd="1" destOrd="0" parTransId="{EB97D544-9FCD-4FBD-BF57-04548BACBC80}" sibTransId="{9089C198-7259-44B1-A7D9-FCD3A7722689}"/>
    <dgm:cxn modelId="{3FD71766-4767-4806-98B2-E371E17C4337}" type="presOf" srcId="{DA15D8D5-C429-4D0C-8FFB-38B0E729BE42}" destId="{8E94F6CF-3C6D-449A-839A-DC3F16E2EA2F}" srcOrd="0" destOrd="0" presId="urn:microsoft.com/office/officeart/2008/layout/AlternatingHexagons"/>
    <dgm:cxn modelId="{BB30C54A-3E5A-4302-A6B5-9DE41CCD52B6}" type="presOf" srcId="{9089C198-7259-44B1-A7D9-FCD3A7722689}" destId="{36E2313D-F53B-4EB3-9DC7-24EB9A4B7A8F}" srcOrd="0" destOrd="0" presId="urn:microsoft.com/office/officeart/2008/layout/AlternatingHexagons"/>
    <dgm:cxn modelId="{3C82DB6C-F80E-4EC3-9CFC-F6371C9D4D69}" srcId="{55279901-A423-4DCE-81B3-15D313A73071}" destId="{DA15D8D5-C429-4D0C-8FFB-38B0E729BE42}" srcOrd="0" destOrd="0" parTransId="{4D07A94A-C1C1-4721-A845-6653C7CDA16A}" sibTransId="{3D04D0E8-6258-4593-8D5D-A1894E86F829}"/>
    <dgm:cxn modelId="{F2BC0E5A-2A68-412E-9C06-173207A85479}" type="presOf" srcId="{A541F1FE-9F12-46E5-850C-51CA31F642FE}" destId="{9FF396AA-33F2-455B-9413-41F0F28B328C}" srcOrd="0" destOrd="0" presId="urn:microsoft.com/office/officeart/2008/layout/AlternatingHexagons"/>
    <dgm:cxn modelId="{877BF3C7-7C53-4E0E-9B8C-8073A1223DE5}" type="presOf" srcId="{55279901-A423-4DCE-81B3-15D313A73071}" destId="{71B50E39-B6A3-471A-9B09-1A3F205C7E22}" srcOrd="0" destOrd="0" presId="urn:microsoft.com/office/officeart/2008/layout/AlternatingHexagons"/>
    <dgm:cxn modelId="{C7B2BB8F-18B1-4B03-9FEB-281548FF6133}" type="presParOf" srcId="{71B50E39-B6A3-471A-9B09-1A3F205C7E22}" destId="{03AAD756-20DE-472F-B7D5-62C4EEAB72DF}" srcOrd="0" destOrd="0" presId="urn:microsoft.com/office/officeart/2008/layout/AlternatingHexagons"/>
    <dgm:cxn modelId="{576871A2-B57D-4A5E-8647-C819BB6404FC}" type="presParOf" srcId="{03AAD756-20DE-472F-B7D5-62C4EEAB72DF}" destId="{8E94F6CF-3C6D-449A-839A-DC3F16E2EA2F}" srcOrd="0" destOrd="0" presId="urn:microsoft.com/office/officeart/2008/layout/AlternatingHexagons"/>
    <dgm:cxn modelId="{E6B44993-06DD-469B-8A78-30F73550012D}" type="presParOf" srcId="{03AAD756-20DE-472F-B7D5-62C4EEAB72DF}" destId="{48F91170-7DB7-4CBF-8BD9-0FF0747DBE74}" srcOrd="1" destOrd="0" presId="urn:microsoft.com/office/officeart/2008/layout/AlternatingHexagons"/>
    <dgm:cxn modelId="{0C37C4F6-2AC7-43B0-96C9-4F7C50072988}" type="presParOf" srcId="{03AAD756-20DE-472F-B7D5-62C4EEAB72DF}" destId="{C8C98564-8661-467F-8BCD-3B419138B377}" srcOrd="2" destOrd="0" presId="urn:microsoft.com/office/officeart/2008/layout/AlternatingHexagons"/>
    <dgm:cxn modelId="{12D7B026-A15F-42CC-A2D0-0D16C1AEAB62}" type="presParOf" srcId="{03AAD756-20DE-472F-B7D5-62C4EEAB72DF}" destId="{97B81D20-8DCD-40DC-935C-F325F44EAD1F}" srcOrd="3" destOrd="0" presId="urn:microsoft.com/office/officeart/2008/layout/AlternatingHexagons"/>
    <dgm:cxn modelId="{74F02E94-2854-4611-9285-2E2DD61639FE}" type="presParOf" srcId="{03AAD756-20DE-472F-B7D5-62C4EEAB72DF}" destId="{AEBD023A-1EAB-4244-B92C-F52991F49330}" srcOrd="4" destOrd="0" presId="urn:microsoft.com/office/officeart/2008/layout/AlternatingHexagons"/>
    <dgm:cxn modelId="{28C16B3F-AB1D-4A1B-8E4B-430AB6F3E9D9}" type="presParOf" srcId="{71B50E39-B6A3-471A-9B09-1A3F205C7E22}" destId="{0E039457-16A2-4606-8240-C2470909538D}" srcOrd="1" destOrd="0" presId="urn:microsoft.com/office/officeart/2008/layout/AlternatingHexagons"/>
    <dgm:cxn modelId="{BBD9C22C-90C1-4C4E-8DEC-14A5CF2C52FC}" type="presParOf" srcId="{71B50E39-B6A3-471A-9B09-1A3F205C7E22}" destId="{C7EB9403-6F06-4FA5-BBB3-F6D6FC6BAC67}" srcOrd="2" destOrd="0" presId="urn:microsoft.com/office/officeart/2008/layout/AlternatingHexagons"/>
    <dgm:cxn modelId="{ABC37C11-8AC0-4C39-9E34-698856E15E16}" type="presParOf" srcId="{C7EB9403-6F06-4FA5-BBB3-F6D6FC6BAC67}" destId="{9FF396AA-33F2-455B-9413-41F0F28B328C}" srcOrd="0" destOrd="0" presId="urn:microsoft.com/office/officeart/2008/layout/AlternatingHexagons"/>
    <dgm:cxn modelId="{446B1DC4-741C-42DD-B8CB-2F379E307358}" type="presParOf" srcId="{C7EB9403-6F06-4FA5-BBB3-F6D6FC6BAC67}" destId="{62092414-EAB9-463A-8D9B-91A3A743CCEC}" srcOrd="1" destOrd="0" presId="urn:microsoft.com/office/officeart/2008/layout/AlternatingHexagons"/>
    <dgm:cxn modelId="{A587FE68-5424-46AA-955C-92D5915E7870}" type="presParOf" srcId="{C7EB9403-6F06-4FA5-BBB3-F6D6FC6BAC67}" destId="{FEF26AA4-729E-46AB-AE37-2E2C4DAA1A4F}" srcOrd="2" destOrd="0" presId="urn:microsoft.com/office/officeart/2008/layout/AlternatingHexagons"/>
    <dgm:cxn modelId="{FC5CD7D5-0B2D-4CB9-90BC-5ED9830BA303}" type="presParOf" srcId="{C7EB9403-6F06-4FA5-BBB3-F6D6FC6BAC67}" destId="{87B22DBF-49A8-4214-ADE3-DB8660D75694}" srcOrd="3" destOrd="0" presId="urn:microsoft.com/office/officeart/2008/layout/AlternatingHexagons"/>
    <dgm:cxn modelId="{44AD7D30-C4E0-444E-9E3C-514F54272D5D}" type="presParOf" srcId="{C7EB9403-6F06-4FA5-BBB3-F6D6FC6BAC67}" destId="{36E2313D-F53B-4EB3-9DC7-24EB9A4B7A8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4F6CF-3C6D-449A-839A-DC3F16E2EA2F}">
      <dsp:nvSpPr>
        <dsp:cNvPr id="0" name=""/>
        <dsp:cNvSpPr/>
      </dsp:nvSpPr>
      <dsp:spPr>
        <a:xfrm rot="5400000">
          <a:off x="3437692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Recreate</a:t>
          </a:r>
          <a:r>
            <a:rPr lang="de-DE" sz="1800" kern="1200" dirty="0"/>
            <a:t> Code in Python</a:t>
          </a:r>
        </a:p>
      </dsp:txBody>
      <dsp:txXfrm rot="-5400000">
        <a:off x="3890545" y="974081"/>
        <a:ext cx="1352070" cy="1554103"/>
      </dsp:txXfrm>
    </dsp:sp>
    <dsp:sp modelId="{48F91170-7DB7-4CBF-8BD9-0FF0747DBE74}">
      <dsp:nvSpPr>
        <dsp:cNvPr id="0" name=""/>
        <dsp:cNvSpPr/>
      </dsp:nvSpPr>
      <dsp:spPr>
        <a:xfrm>
          <a:off x="5608320" y="1073799"/>
          <a:ext cx="251968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D023A-1EAB-4244-B92C-F52991F49330}">
      <dsp:nvSpPr>
        <dsp:cNvPr id="0" name=""/>
        <dsp:cNvSpPr/>
      </dsp:nvSpPr>
      <dsp:spPr>
        <a:xfrm rot="5400000">
          <a:off x="1316284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Understand</a:t>
          </a:r>
          <a:r>
            <a:rPr lang="de-DE" sz="1800" kern="1200" dirty="0"/>
            <a:t> </a:t>
          </a:r>
          <a:r>
            <a:rPr lang="de-DE" sz="1800" kern="1200" dirty="0" err="1"/>
            <a:t>Codebase</a:t>
          </a:r>
          <a:endParaRPr lang="de-DE" sz="1800" kern="1200" dirty="0"/>
        </a:p>
      </dsp:txBody>
      <dsp:txXfrm rot="-5400000">
        <a:off x="1769137" y="974081"/>
        <a:ext cx="1352070" cy="1554103"/>
      </dsp:txXfrm>
    </dsp:sp>
    <dsp:sp modelId="{9FF396AA-33F2-455B-9413-41F0F28B328C}">
      <dsp:nvSpPr>
        <dsp:cNvPr id="0" name=""/>
        <dsp:cNvSpPr/>
      </dsp:nvSpPr>
      <dsp:spPr>
        <a:xfrm rot="5400000">
          <a:off x="2372924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Add </a:t>
          </a:r>
          <a:r>
            <a:rPr lang="de-DE" sz="1800" kern="1200" dirty="0" err="1"/>
            <a:t>extensions</a:t>
          </a:r>
          <a:endParaRPr lang="de-DE" sz="1800" kern="1200" dirty="0"/>
        </a:p>
      </dsp:txBody>
      <dsp:txXfrm rot="-5400000">
        <a:off x="2825777" y="2890483"/>
        <a:ext cx="1352070" cy="1554103"/>
      </dsp:txXfrm>
    </dsp:sp>
    <dsp:sp modelId="{62092414-EAB9-463A-8D9B-91A3A743CCEC}">
      <dsp:nvSpPr>
        <dsp:cNvPr id="0" name=""/>
        <dsp:cNvSpPr/>
      </dsp:nvSpPr>
      <dsp:spPr>
        <a:xfrm>
          <a:off x="0" y="2990201"/>
          <a:ext cx="243840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E2313D-F53B-4EB3-9DC7-24EB9A4B7A8F}">
      <dsp:nvSpPr>
        <dsp:cNvPr id="0" name=""/>
        <dsp:cNvSpPr/>
      </dsp:nvSpPr>
      <dsp:spPr>
        <a:xfrm rot="5400000">
          <a:off x="4494332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ind </a:t>
          </a:r>
          <a:r>
            <a:rPr lang="de-DE" sz="1800" kern="1200" dirty="0" err="1"/>
            <a:t>best</a:t>
          </a:r>
          <a:r>
            <a:rPr lang="de-DE" sz="1800" kern="1200" dirty="0"/>
            <a:t> </a:t>
          </a:r>
          <a:r>
            <a:rPr lang="de-DE" sz="1800" kern="1200" dirty="0" err="1"/>
            <a:t>parameters</a:t>
          </a:r>
          <a:endParaRPr lang="de-DE" sz="1800" kern="1200" dirty="0"/>
        </a:p>
      </dsp:txBody>
      <dsp:txXfrm rot="-5400000">
        <a:off x="4947185" y="2890483"/>
        <a:ext cx="1352070" cy="1554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772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752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12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728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</a:t>
            </a:r>
            <a:r>
              <a:rPr lang="en-US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ur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3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8.svg"/><Relationship Id="rId1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video" Target="../media/media4.mp4"/><Relationship Id="rId2" Type="http://schemas.microsoft.com/office/2007/relationships/media" Target="../media/media4.mp4"/><Relationship Id="rId1" Type="http://schemas.openxmlformats.org/officeDocument/2006/relationships/tags" Target="../tags/tag40.xml"/><Relationship Id="rId6" Type="http://schemas.openxmlformats.org/officeDocument/2006/relationships/image" Target="../media/image36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video" Target="../media/media5.mp4"/><Relationship Id="rId2" Type="http://schemas.microsoft.com/office/2007/relationships/media" Target="../media/media5.mp4"/><Relationship Id="rId1" Type="http://schemas.openxmlformats.org/officeDocument/2006/relationships/tags" Target="../tags/tag41.xml"/><Relationship Id="rId6" Type="http://schemas.openxmlformats.org/officeDocument/2006/relationships/image" Target="../media/image37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2.png"/><Relationship Id="rId4" Type="http://schemas.openxmlformats.org/officeDocument/2006/relationships/diagramData" Target="../diagrams/data1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Finding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69148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253463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o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Muster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i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0" dirty="0">
                <a:effectLst/>
                <a:latin typeface="Arial" panose="020B0604020202020204" pitchFamily="34" charset="0"/>
              </a:rPr>
              <a:t>*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 Simulating single and multiple sheepdogs guidance of a sheep swarm</a:t>
            </a:r>
            <a:r>
              <a:rPr lang="en-US" sz="1100" dirty="0">
                <a:solidFill>
                  <a:srgbClr val="1F2328"/>
                </a:solidFill>
                <a:latin typeface="Arial" panose="020B0604020202020204" pitchFamily="34" charset="0"/>
              </a:rPr>
              <a:t> by D. </a:t>
            </a:r>
            <a:r>
              <a:rPr lang="en-US" sz="1100" dirty="0">
                <a:solidFill>
                  <a:srgbClr val="1F2328"/>
                </a:solidFill>
                <a:latin typeface="-apple-system"/>
              </a:rPr>
              <a:t>Baxter , M. Garratt M, H. A. </a:t>
            </a:r>
            <a:r>
              <a:rPr lang="en-US" sz="1100" dirty="0" err="1">
                <a:solidFill>
                  <a:srgbClr val="1F2328"/>
                </a:solidFill>
                <a:latin typeface="-apple-system"/>
              </a:rPr>
              <a:t>Abbass</a:t>
            </a:r>
            <a:endParaRPr lang="en-US" sz="1100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971597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794186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032126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</a:t>
            </a:r>
            <a:r>
              <a:rPr lang="de-DE" sz="2800" dirty="0" err="1"/>
              <a:t>Extensions</a:t>
            </a: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3358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0768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89321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6158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1354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1807344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4729133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56498" y="1779708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7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4729133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/multiple Shepherd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7" name="Rectangle 79">
                <a:extLst>
                  <a:ext uri="{FF2B5EF4-FFF2-40B4-BE49-F238E27FC236}">
                    <a16:creationId xmlns:a16="http://schemas.microsoft.com/office/drawing/2014/main" id="{FBECF220-E6F1-2EAB-99A8-9FE44FB50BCA}"/>
                  </a:ext>
                </a:extLst>
              </p:cNvPr>
              <p:cNvSpPr/>
              <p:nvPr/>
            </p:nvSpPr>
            <p:spPr>
              <a:xfrm>
                <a:off x="664655" y="4049033"/>
                <a:ext cx="3418159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lang="de-DE" sz="1600" b="1" dirty="0" err="1">
                    <a:solidFill>
                      <a:prstClr val="black"/>
                    </a:solidFill>
                  </a:rPr>
                  <a:t>Required</a:t>
                </a:r>
                <a:r>
                  <a:rPr lang="de-DE" sz="1600" b="1" dirty="0">
                    <a:solidFill>
                      <a:prstClr val="black"/>
                    </a:solidFill>
                  </a:rPr>
                  <a:t> </a:t>
                </a:r>
                <a:r>
                  <a:rPr lang="de-DE" sz="1600" b="1" dirty="0" err="1">
                    <a:solidFill>
                      <a:prstClr val="black"/>
                    </a:solidFill>
                  </a:rPr>
                  <a:t>Modifications</a:t>
                </a:r>
                <a:r>
                  <a:rPr lang="de-DE" sz="1600" b="1" dirty="0">
                    <a:solidFill>
                      <a:prstClr val="black"/>
                    </a:solidFill>
                  </a:rPr>
                  <a:t>:</a:t>
                </a: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de-DE" sz="1600" dirty="0">
                    <a:solidFill>
                      <a:prstClr val="black"/>
                    </a:solidFill>
                  </a:rPr>
                  <a:t>Min/Max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</a:rPr>
                  <a:t> </a:t>
                </a:r>
                <a:r>
                  <a:rPr lang="de-DE" sz="1600" dirty="0" err="1">
                    <a:solidFill>
                      <a:prstClr val="black"/>
                    </a:solidFill>
                  </a:rPr>
                  <a:t>coordinates</a:t>
                </a:r>
                <a:endParaRPr kumimoji="0" lang="de-DE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endParaRPr kumimoji="0" lang="de-DE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47" name="Rectangle 79">
                <a:extLst>
                  <a:ext uri="{FF2B5EF4-FFF2-40B4-BE49-F238E27FC236}">
                    <a16:creationId xmlns:a16="http://schemas.microsoft.com/office/drawing/2014/main" id="{FBECF220-E6F1-2EAB-99A8-9FE44FB50B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655" y="4049033"/>
                <a:ext cx="3418159" cy="830997"/>
              </a:xfrm>
              <a:prstGeom prst="rect">
                <a:avLst/>
              </a:prstGeom>
              <a:blipFill>
                <a:blip r:embed="rId12"/>
                <a:stretch>
                  <a:fillRect l="-891" t="-21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4316414" y="4049033"/>
            <a:ext cx="34181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S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A</a:t>
            </a:r>
            <a:r>
              <a:rPr lang="de-DE" sz="1600" noProof="0" dirty="0" err="1">
                <a:solidFill>
                  <a:prstClr val="black"/>
                </a:solidFill>
              </a:rPr>
              <a:t>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of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rd‘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Grafik 2" descr="Hund mit einfarbiger Füllung">
            <a:extLst>
              <a:ext uri="{FF2B5EF4-FFF2-40B4-BE49-F238E27FC236}">
                <a16:creationId xmlns:a16="http://schemas.microsoft.com/office/drawing/2014/main" id="{7466CC84-5B50-EDCC-0B35-F392C74E2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78279" y="2169871"/>
            <a:ext cx="914400" cy="914400"/>
          </a:xfrm>
          <a:prstGeom prst="rect">
            <a:avLst/>
          </a:prstGeom>
        </p:spPr>
      </p:pic>
      <p:sp>
        <p:nvSpPr>
          <p:cNvPr id="4" name="Hexagon 74">
            <a:extLst>
              <a:ext uri="{FF2B5EF4-FFF2-40B4-BE49-F238E27FC236}">
                <a16:creationId xmlns:a16="http://schemas.microsoft.com/office/drawing/2014/main" id="{7DCC6D1D-BD84-B066-5FE4-B8CF7982AAB5}"/>
              </a:ext>
            </a:extLst>
          </p:cNvPr>
          <p:cNvSpPr/>
          <p:nvPr/>
        </p:nvSpPr>
        <p:spPr bwMode="gray">
          <a:xfrm>
            <a:off x="8460143" y="1534265"/>
            <a:ext cx="2337923" cy="1997710"/>
          </a:xfrm>
          <a:prstGeom prst="hexagon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C75566-46F9-F8DE-FA80-D852E3F3829A}"/>
              </a:ext>
            </a:extLst>
          </p:cNvPr>
          <p:cNvSpPr/>
          <p:nvPr/>
        </p:nvSpPr>
        <p:spPr>
          <a:xfrm>
            <a:off x="1052067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Rectangle 78">
            <a:extLst>
              <a:ext uri="{FF2B5EF4-FFF2-40B4-BE49-F238E27FC236}">
                <a16:creationId xmlns:a16="http://schemas.microsoft.com/office/drawing/2014/main" id="{3A970D2A-E1D5-89DB-FABF-698B55331099}"/>
              </a:ext>
            </a:extLst>
          </p:cNvPr>
          <p:cNvSpPr/>
          <p:nvPr/>
        </p:nvSpPr>
        <p:spPr>
          <a:xfrm>
            <a:off x="9024674" y="1183055"/>
            <a:ext cx="26381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Comparison</a:t>
            </a:r>
            <a:r>
              <a:rPr lang="de-DE" sz="1600" b="1" noProof="0" dirty="0"/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79">
            <a:extLst>
              <a:ext uri="{FF2B5EF4-FFF2-40B4-BE49-F238E27FC236}">
                <a16:creationId xmlns:a16="http://schemas.microsoft.com/office/drawing/2014/main" id="{CC1F1408-F491-9157-88FB-DC0D89AB7B7D}"/>
              </a:ext>
            </a:extLst>
          </p:cNvPr>
          <p:cNvSpPr/>
          <p:nvPr/>
        </p:nvSpPr>
        <p:spPr>
          <a:xfrm>
            <a:off x="8153201" y="4049033"/>
            <a:ext cx="34181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tion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f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other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odel*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comparis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Shepherds </a:t>
            </a:r>
            <a:r>
              <a:rPr lang="de-DE" sz="1600" dirty="0" err="1">
                <a:solidFill>
                  <a:prstClr val="black"/>
                </a:solidFill>
              </a:rPr>
              <a:t>are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del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gent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with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defin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vem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functions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Grafik 19" descr="Waage der Justitia mit einfarbiger Füllung">
            <a:extLst>
              <a:ext uri="{FF2B5EF4-FFF2-40B4-BE49-F238E27FC236}">
                <a16:creationId xmlns:a16="http://schemas.microsoft.com/office/drawing/2014/main" id="{30976525-8E2B-4A59-A593-B0F8405C24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09186" y="1931930"/>
            <a:ext cx="1091460" cy="10914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  <p:bldP spid="4" grpId="0" animBg="1"/>
      <p:bldP spid="17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B7BA8FD-F597-8D95-1D1E-7023809ABE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2023567"/>
            <a:ext cx="3978607" cy="4263254"/>
          </a:xfrm>
          <a:prstGeom prst="rect">
            <a:avLst/>
          </a:prstGeom>
        </p:spPr>
      </p:pic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91E0BA9-CF0C-9042-080F-AB774D64B1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225" y="2197362"/>
            <a:ext cx="4822215" cy="37888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7694834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652DF65-5688-7D71-70DA-EBDC8EBC8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3630" y="1617813"/>
            <a:ext cx="4707319" cy="461336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DCD2397-851B-356C-74BF-2FD79E572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238" y="1602072"/>
            <a:ext cx="4753638" cy="46679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wo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two dogs">
            <a:hlinkClick r:id="" action="ppaction://media"/>
            <a:extLst>
              <a:ext uri="{FF2B5EF4-FFF2-40B4-BE49-F238E27FC236}">
                <a16:creationId xmlns:a16="http://schemas.microsoft.com/office/drawing/2014/main" id="{BF85C672-10F9-01EF-59D3-9007DA55817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38200"/>
            <a:ext cx="11277600" cy="563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323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34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hree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" name="three dogs">
            <a:hlinkClick r:id="" action="ppaction://media"/>
            <a:extLst>
              <a:ext uri="{FF2B5EF4-FFF2-40B4-BE49-F238E27FC236}">
                <a16:creationId xmlns:a16="http://schemas.microsoft.com/office/drawing/2014/main" id="{9DB2602E-49F6-C73B-B31D-A2A48CF1459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73760"/>
            <a:ext cx="11206480" cy="5603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5613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BC1F170A-C1EA-FFF8-BB02-715F56F7AF57}"/>
              </a:ext>
            </a:extLst>
          </p:cNvPr>
          <p:cNvSpPr/>
          <p:nvPr/>
        </p:nvSpPr>
        <p:spPr bwMode="gray">
          <a:xfrm>
            <a:off x="5120640" y="3028864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A2CA10"/>
              </a:gs>
              <a:gs pos="97000">
                <a:srgbClr val="2AFC4D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DAD8076-D9EE-8B8D-C8EA-9F35F7757DED}"/>
              </a:ext>
            </a:extLst>
          </p:cNvPr>
          <p:cNvSpPr/>
          <p:nvPr/>
        </p:nvSpPr>
        <p:spPr bwMode="gray">
          <a:xfrm>
            <a:off x="5120640" y="4035466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E3E48D"/>
              </a:gs>
              <a:gs pos="66000">
                <a:schemeClr val="accent1">
                  <a:lumMod val="60000"/>
                  <a:lumOff val="40000"/>
                </a:schemeClr>
              </a:gs>
              <a:gs pos="68000">
                <a:srgbClr val="F82705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 </a:t>
            </a:r>
            <a:r>
              <a:rPr lang="de-DE" dirty="0" err="1"/>
              <a:t>vs</a:t>
            </a:r>
            <a:r>
              <a:rPr lang="de-DE" dirty="0"/>
              <a:t> 2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/>
              <a:t>3 </a:t>
            </a:r>
            <a:r>
              <a:rPr lang="de-DE" dirty="0"/>
              <a:t>S</a:t>
            </a:r>
            <a:r>
              <a:rPr lang="de-DE"/>
              <a:t>hepherds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 dirty="0" err="1"/>
              <a:t>Comparison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imesteps</a:t>
            </a:r>
            <a:r>
              <a:rPr lang="de-DE" sz="2800" dirty="0"/>
              <a:t> </a:t>
            </a:r>
            <a:r>
              <a:rPr lang="de-DE" sz="2800" dirty="0" err="1"/>
              <a:t>needed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79E4657-C6FA-2985-8B14-14A361086668}"/>
              </a:ext>
            </a:extLst>
          </p:cNvPr>
          <p:cNvSpPr/>
          <p:nvPr/>
        </p:nvSpPr>
        <p:spPr bwMode="gray">
          <a:xfrm>
            <a:off x="5120640" y="5035886"/>
            <a:ext cx="4685587" cy="1012088"/>
          </a:xfrm>
          <a:prstGeom prst="rect">
            <a:avLst/>
          </a:prstGeom>
          <a:gradFill flip="none" rotWithShape="1">
            <a:gsLst>
              <a:gs pos="33000">
                <a:srgbClr val="E58912"/>
              </a:gs>
              <a:gs pos="66000">
                <a:srgbClr val="E94605"/>
              </a:gs>
              <a:gs pos="34000">
                <a:srgbClr val="F04D0A"/>
              </a:gs>
              <a:gs pos="67000">
                <a:srgbClr val="E1CA1F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710242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9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1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96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81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267BD4E-72A2-3ADE-2A89-BD42D600301C}"/>
              </a:ext>
            </a:extLst>
          </p:cNvPr>
          <p:cNvSpPr/>
          <p:nvPr/>
        </p:nvSpPr>
        <p:spPr bwMode="gray">
          <a:xfrm>
            <a:off x="8456327" y="1664038"/>
            <a:ext cx="2488971" cy="119911"/>
          </a:xfrm>
          <a:prstGeom prst="rect">
            <a:avLst/>
          </a:prstGeom>
          <a:gradFill>
            <a:gsLst>
              <a:gs pos="0">
                <a:srgbClr val="FF0000"/>
              </a:gs>
              <a:gs pos="79000">
                <a:srgbClr val="A2CA10"/>
              </a:gs>
              <a:gs pos="100000">
                <a:srgbClr val="2EFB4B"/>
              </a:gs>
              <a:gs pos="21000">
                <a:srgbClr val="E58812"/>
              </a:gs>
              <a:gs pos="40000">
                <a:srgbClr val="E1CA1F"/>
              </a:gs>
              <a:gs pos="58000">
                <a:srgbClr val="E3E48D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FA98E93-7277-B4AD-22DB-6F9A6B47A870}"/>
              </a:ext>
            </a:extLst>
          </p:cNvPr>
          <p:cNvSpPr txBox="1"/>
          <p:nvPr/>
        </p:nvSpPr>
        <p:spPr>
          <a:xfrm>
            <a:off x="8456327" y="1416410"/>
            <a:ext cx="2600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>
                <a:solidFill>
                  <a:srgbClr val="313131"/>
                </a:solidFill>
              </a:rPr>
              <a:t>Color </a:t>
            </a:r>
            <a:r>
              <a:rPr lang="de-DE" sz="1400" dirty="0" err="1">
                <a:solidFill>
                  <a:srgbClr val="313131"/>
                </a:solidFill>
              </a:rPr>
              <a:t>coding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of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Timesteps</a:t>
            </a:r>
            <a:endParaRPr lang="de-DE" sz="14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051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*Simulating single and multiple sheepdogs guidance of a sheep swarm</a:t>
            </a:r>
            <a:r>
              <a:rPr lang="en-US" sz="1100" dirty="0">
                <a:solidFill>
                  <a:srgbClr val="1F2328"/>
                </a:solidFill>
                <a:latin typeface="Arial" panose="020B0604020202020204" pitchFamily="34" charset="0"/>
              </a:rPr>
              <a:t> by D. </a:t>
            </a:r>
            <a:r>
              <a:rPr lang="en-US" sz="1100" dirty="0">
                <a:solidFill>
                  <a:srgbClr val="1F2328"/>
                </a:solidFill>
                <a:latin typeface="-apple-system"/>
              </a:rPr>
              <a:t>Baxter , M. Garratt M, H. A. </a:t>
            </a:r>
            <a:r>
              <a:rPr lang="en-US" sz="1100" dirty="0" err="1">
                <a:solidFill>
                  <a:srgbClr val="1F2328"/>
                </a:solidFill>
                <a:latin typeface="-apple-system"/>
              </a:rPr>
              <a:t>Abbass</a:t>
            </a:r>
            <a:endParaRPr lang="en-US" sz="1100" b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?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/>
              <a:t>Benchmark </a:t>
            </a:r>
            <a:r>
              <a:rPr lang="de-DE" sz="2800" dirty="0"/>
              <a:t>M</a:t>
            </a:r>
            <a:r>
              <a:rPr lang="de-DE" sz="2800"/>
              <a:t>odel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364391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749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58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342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986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929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61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4A3C6C4-2B6D-ECC1-AA5F-B8ECB63405D0}"/>
              </a:ext>
            </a:extLst>
          </p:cNvPr>
          <p:cNvSpPr txBox="1"/>
          <p:nvPr/>
        </p:nvSpPr>
        <p:spPr>
          <a:xfrm>
            <a:off x="8997593" y="1406446"/>
            <a:ext cx="26009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Our</a:t>
            </a:r>
            <a:r>
              <a:rPr lang="de-DE" sz="1400" dirty="0">
                <a:solidFill>
                  <a:srgbClr val="313131"/>
                </a:solidFill>
              </a:rPr>
              <a:t> model </a:t>
            </a:r>
            <a:r>
              <a:rPr lang="de-DE" sz="1400" dirty="0" err="1">
                <a:solidFill>
                  <a:srgbClr val="313131"/>
                </a:solidFill>
              </a:rPr>
              <a:t>performed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better</a:t>
            </a:r>
            <a:br>
              <a:rPr lang="de-DE" sz="1400" dirty="0">
                <a:solidFill>
                  <a:srgbClr val="313131"/>
                </a:solidFill>
              </a:rPr>
            </a:br>
            <a:r>
              <a:rPr lang="de-DE" sz="1400" dirty="0" err="1">
                <a:solidFill>
                  <a:srgbClr val="313131"/>
                </a:solidFill>
              </a:rPr>
              <a:t>Our</a:t>
            </a:r>
            <a:r>
              <a:rPr lang="de-DE" sz="1400" dirty="0">
                <a:solidFill>
                  <a:srgbClr val="313131"/>
                </a:solidFill>
              </a:rPr>
              <a:t> model </a:t>
            </a:r>
            <a:r>
              <a:rPr lang="de-DE" sz="1400" dirty="0" err="1">
                <a:solidFill>
                  <a:srgbClr val="313131"/>
                </a:solidFill>
              </a:rPr>
              <a:t>performed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worse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6DC9B68-5BCD-C791-A9F4-7613A2F71031}"/>
              </a:ext>
            </a:extLst>
          </p:cNvPr>
          <p:cNvSpPr/>
          <p:nvPr/>
        </p:nvSpPr>
        <p:spPr bwMode="gray">
          <a:xfrm>
            <a:off x="8550674" y="1448172"/>
            <a:ext cx="352572" cy="119911"/>
          </a:xfrm>
          <a:prstGeom prst="rect">
            <a:avLst/>
          </a:prstGeom>
          <a:solidFill>
            <a:srgbClr val="93F3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3B47EB7-72E8-F452-B182-6979747A420C}"/>
              </a:ext>
            </a:extLst>
          </p:cNvPr>
          <p:cNvSpPr/>
          <p:nvPr/>
        </p:nvSpPr>
        <p:spPr bwMode="gray">
          <a:xfrm>
            <a:off x="8555053" y="1679675"/>
            <a:ext cx="352572" cy="119911"/>
          </a:xfrm>
          <a:prstGeom prst="rect">
            <a:avLst/>
          </a:prstGeom>
          <a:solidFill>
            <a:srgbClr val="FFCD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156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31B5BC1-6DBF-5E61-D323-7FCBB80D9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394496"/>
              </p:ext>
            </p:extLst>
          </p:nvPr>
        </p:nvGraphicFramePr>
        <p:xfrm>
          <a:off x="1665635" y="104597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happe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Goals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F6C19517-E12D-4B2E-EA34-31DD377897DF}"/>
              </a:ext>
            </a:extLst>
          </p:cNvPr>
          <p:cNvSpPr/>
          <p:nvPr/>
        </p:nvSpPr>
        <p:spPr>
          <a:xfrm>
            <a:off x="5235661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>
            <a:gsLst>
              <a:gs pos="27000">
                <a:schemeClr val="bg2"/>
              </a:gs>
              <a:gs pos="90000">
                <a:srgbClr val="43B02A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Recreate</a:t>
            </a:r>
            <a:r>
              <a:rPr lang="de-DE" sz="1800" kern="1200" dirty="0"/>
              <a:t> Code in C++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A00532D-5D4E-4514-4537-AAF5A584F476}"/>
              </a:ext>
            </a:extLst>
          </p:cNvPr>
          <p:cNvSpPr/>
          <p:nvPr/>
        </p:nvSpPr>
        <p:spPr>
          <a:xfrm>
            <a:off x="3109140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Understand</a:t>
            </a:r>
            <a:r>
              <a:rPr lang="de-DE" sz="1800" kern="1200" dirty="0"/>
              <a:t> </a:t>
            </a:r>
            <a:r>
              <a:rPr lang="de-DE" sz="1800" kern="1200" dirty="0" err="1"/>
              <a:t>Codebase</a:t>
            </a:r>
            <a:endParaRPr lang="de-DE" sz="1800" kern="12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65AA628-5FFC-E784-F24E-FE598F2F3E8B}"/>
              </a:ext>
            </a:extLst>
          </p:cNvPr>
          <p:cNvSpPr/>
          <p:nvPr/>
        </p:nvSpPr>
        <p:spPr>
          <a:xfrm>
            <a:off x="4174089" y="3554248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Add multiple </a:t>
            </a:r>
            <a:r>
              <a:rPr lang="de-DE" dirty="0"/>
              <a:t>S</a:t>
            </a:r>
            <a:r>
              <a:rPr lang="de-DE" sz="1800" kern="1200" dirty="0"/>
              <a:t>hepherds and </a:t>
            </a:r>
            <a:r>
              <a:rPr lang="de-DE" dirty="0"/>
              <a:t>F</a:t>
            </a:r>
            <a:r>
              <a:rPr lang="de-DE" sz="1800" kern="1200" dirty="0"/>
              <a:t>enc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3DDD65-06EF-24AA-B8A7-F1B27D30BCE7}"/>
              </a:ext>
            </a:extLst>
          </p:cNvPr>
          <p:cNvSpPr/>
          <p:nvPr/>
        </p:nvSpPr>
        <p:spPr>
          <a:xfrm>
            <a:off x="6813524" y="3762320"/>
            <a:ext cx="243840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DAE163D-89CF-8515-9591-E8C0A07B01F2}"/>
              </a:ext>
            </a:extLst>
          </p:cNvPr>
          <p:cNvSpPr/>
          <p:nvPr/>
        </p:nvSpPr>
        <p:spPr>
          <a:xfrm>
            <a:off x="6311006" y="3601964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 flip="none" rotWithShape="1">
            <a:gsLst>
              <a:gs pos="23000">
                <a:schemeClr val="bg2"/>
              </a:gs>
              <a:gs pos="57000">
                <a:srgbClr val="43B02A"/>
              </a:gs>
            </a:gsLst>
            <a:lin ang="162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Find </a:t>
            </a:r>
            <a:r>
              <a:rPr lang="de-DE" sz="1800" kern="1200" dirty="0" err="1"/>
              <a:t>best</a:t>
            </a:r>
            <a:r>
              <a:rPr lang="de-DE" sz="1800" kern="1200" dirty="0"/>
              <a:t> </a:t>
            </a:r>
            <a:r>
              <a:rPr lang="de-DE" dirty="0"/>
              <a:t>P</a:t>
            </a:r>
            <a:r>
              <a:rPr lang="de-DE" sz="1800" kern="1200" dirty="0"/>
              <a:t>arameters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563B150-C396-D374-0A19-08880394CB83}"/>
              </a:ext>
            </a:extLst>
          </p:cNvPr>
          <p:cNvSpPr/>
          <p:nvPr/>
        </p:nvSpPr>
        <p:spPr>
          <a:xfrm>
            <a:off x="7368934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Compare</a:t>
            </a:r>
            <a:r>
              <a:rPr lang="de-DE" sz="1800" kern="1200" dirty="0"/>
              <a:t> </a:t>
            </a:r>
            <a:r>
              <a:rPr lang="de-DE" sz="1800" kern="1200" dirty="0" err="1"/>
              <a:t>to</a:t>
            </a:r>
            <a:r>
              <a:rPr lang="de-DE" sz="1800" kern="1200" dirty="0"/>
              <a:t> Benchmark- </a:t>
            </a:r>
            <a:r>
              <a:rPr lang="de-DE" dirty="0"/>
              <a:t>M</a:t>
            </a:r>
            <a:r>
              <a:rPr lang="de-DE" sz="1800" kern="1200" dirty="0"/>
              <a:t>odel</a:t>
            </a:r>
          </a:p>
        </p:txBody>
      </p:sp>
    </p:spTree>
    <p:extLst>
      <p:ext uri="{BB962C8B-B14F-4D97-AF65-F5344CB8AC3E}">
        <p14:creationId xmlns:p14="http://schemas.microsoft.com/office/powerpoint/2010/main" val="115096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iggest</a:t>
            </a:r>
            <a:r>
              <a:rPr lang="de-DE" dirty="0"/>
              <a:t> Challenges 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32CEC5B8-DDC6-BAA1-245F-8A8926BBF8F2}"/>
              </a:ext>
            </a:extLst>
          </p:cNvPr>
          <p:cNvSpPr/>
          <p:nvPr/>
        </p:nvSpPr>
        <p:spPr>
          <a:xfrm>
            <a:off x="632586" y="1775662"/>
            <a:ext cx="2405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ing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2466879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97A5F0-0AC7-7E1D-CBB0-BCEDE755AFFF}"/>
              </a:ext>
            </a:extLst>
          </p:cNvPr>
          <p:cNvGrpSpPr/>
          <p:nvPr/>
        </p:nvGrpSpPr>
        <p:grpSpPr>
          <a:xfrm>
            <a:off x="955536" y="4587978"/>
            <a:ext cx="1703073" cy="2786208"/>
            <a:chOff x="955536" y="4587978"/>
            <a:chExt cx="1703073" cy="2786208"/>
          </a:xfrm>
        </p:grpSpPr>
        <p:grpSp>
          <p:nvGrpSpPr>
            <p:cNvPr id="47" name="Group 52">
              <a:extLst>
                <a:ext uri="{FF2B5EF4-FFF2-40B4-BE49-F238E27FC236}">
                  <a16:creationId xmlns:a16="http://schemas.microsoft.com/office/drawing/2014/main" id="{FC143D0D-E694-49B5-B47F-9A5BBFA66612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31985CC6-F3E9-2BA3-6719-EA64A2F89E3F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Oval 55">
                <a:extLst>
                  <a:ext uri="{FF2B5EF4-FFF2-40B4-BE49-F238E27FC236}">
                    <a16:creationId xmlns:a16="http://schemas.microsoft.com/office/drawing/2014/main" id="{729729EE-E3EB-D38F-5E85-ED0B7B16C4E3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Oval 60">
                <a:extLst>
                  <a:ext uri="{FF2B5EF4-FFF2-40B4-BE49-F238E27FC236}">
                    <a16:creationId xmlns:a16="http://schemas.microsoft.com/office/drawing/2014/main" id="{DB307EA9-317E-2F43-9C94-66EDF499BBD6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51" name="Rectangle 61">
                <a:extLst>
                  <a:ext uri="{FF2B5EF4-FFF2-40B4-BE49-F238E27FC236}">
                    <a16:creationId xmlns:a16="http://schemas.microsoft.com/office/drawing/2014/main" id="{77585DEE-E8AC-A124-C749-F999FE301092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 59" descr="Schraubenschlüssel mit einfarbiger Füllung">
              <a:extLst>
                <a:ext uri="{FF2B5EF4-FFF2-40B4-BE49-F238E27FC236}">
                  <a16:creationId xmlns:a16="http://schemas.microsoft.com/office/drawing/2014/main" id="{01ED36FC-7AF6-8FAA-23B9-699C0167B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445EC500-F8AF-E1D9-FFBF-8F16BFC53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3127899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erstand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out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roper </a:t>
            </a:r>
            <a:r>
              <a:rPr lang="de-DE" dirty="0"/>
              <a:t>D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cumentation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5114587"/>
            <a:ext cx="54151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k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</a:t>
            </a:r>
            <a:r>
              <a:rPr lang="de-DE" dirty="0" err="1"/>
              <a:t>leaning</a:t>
            </a:r>
            <a:r>
              <a:rPr lang="de-DE" dirty="0"/>
              <a:t> and 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differently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>
            <a:grpSpLocks noChangeAspect="1"/>
          </p:cNvGrpSpPr>
          <p:nvPr/>
        </p:nvGrpSpPr>
        <p:grpSpPr>
          <a:xfrm>
            <a:off x="955538" y="2799498"/>
            <a:ext cx="883896" cy="1446044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dolo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i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4587D49-D35A-D58A-ADB3-DDA171F4E6A7}"/>
              </a:ext>
            </a:extLst>
          </p:cNvPr>
          <p:cNvSpPr/>
          <p:nvPr/>
        </p:nvSpPr>
        <p:spPr bwMode="gray">
          <a:xfrm>
            <a:off x="2339163" y="3429000"/>
            <a:ext cx="1786270" cy="563968"/>
          </a:xfrm>
          <a:prstGeom prst="rightArrow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13A6B5-89EA-B557-0813-6D3CB31DF68C}"/>
              </a:ext>
            </a:extLst>
          </p:cNvPr>
          <p:cNvSpPr txBox="1"/>
          <p:nvPr/>
        </p:nvSpPr>
        <p:spPr>
          <a:xfrm>
            <a:off x="5937637" y="3375023"/>
            <a:ext cx="48147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Implement the model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cratch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Original Repository </a:t>
            </a:r>
            <a:r>
              <a:rPr lang="de-DE" dirty="0" err="1">
                <a:solidFill>
                  <a:srgbClr val="313131"/>
                </a:solidFill>
              </a:rPr>
              <a:t>onl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s</a:t>
            </a:r>
            <a:r>
              <a:rPr lang="de-DE" dirty="0">
                <a:solidFill>
                  <a:srgbClr val="313131"/>
                </a:solidFill>
              </a:rPr>
              <a:t> Template/Inspiration</a:t>
            </a: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48CEA55B-5D29-9F22-AF3F-A23749500348}"/>
              </a:ext>
            </a:extLst>
          </p:cNvPr>
          <p:cNvSpPr/>
          <p:nvPr/>
        </p:nvSpPr>
        <p:spPr>
          <a:xfrm>
            <a:off x="4447922" y="4515791"/>
            <a:ext cx="836406" cy="228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135CE7F2-119A-24D6-0B17-619932018F6F}"/>
              </a:ext>
            </a:extLst>
          </p:cNvPr>
          <p:cNvSpPr/>
          <p:nvPr/>
        </p:nvSpPr>
        <p:spPr bwMode="gray">
          <a:xfrm>
            <a:off x="4360230" y="2991485"/>
            <a:ext cx="1404621" cy="1401717"/>
          </a:xfrm>
          <a:prstGeom prst="ellipse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Oval 37">
            <a:extLst>
              <a:ext uri="{FF2B5EF4-FFF2-40B4-BE49-F238E27FC236}">
                <a16:creationId xmlns:a16="http://schemas.microsoft.com/office/drawing/2014/main" id="{B60DB0CE-956B-2C87-0AC4-46B6740C3DF1}"/>
              </a:ext>
            </a:extLst>
          </p:cNvPr>
          <p:cNvSpPr/>
          <p:nvPr/>
        </p:nvSpPr>
        <p:spPr bwMode="gray">
          <a:xfrm>
            <a:off x="4519908" y="3150833"/>
            <a:ext cx="1085264" cy="108302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3" name="Grafik 15" descr="Architektur Silhouette">
            <a:extLst>
              <a:ext uri="{FF2B5EF4-FFF2-40B4-BE49-F238E27FC236}">
                <a16:creationId xmlns:a16="http://schemas.microsoft.com/office/drawing/2014/main" id="{CA29AD39-4B29-297D-813A-80583372E5CC}"/>
              </a:ext>
            </a:extLst>
          </p:cNvPr>
          <p:cNvGrpSpPr/>
          <p:nvPr/>
        </p:nvGrpSpPr>
        <p:grpSpPr>
          <a:xfrm>
            <a:off x="4697695" y="3368264"/>
            <a:ext cx="809970" cy="582879"/>
            <a:chOff x="4984741" y="3120746"/>
            <a:chExt cx="838153" cy="629325"/>
          </a:xfrm>
          <a:solidFill>
            <a:srgbClr val="009A44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F95F681-D5F3-952F-2BAA-FED8EA7BAAAD}"/>
                </a:ext>
              </a:extLst>
            </p:cNvPr>
            <p:cNvSpPr/>
            <p:nvPr/>
          </p:nvSpPr>
          <p:spPr>
            <a:xfrm>
              <a:off x="4984741" y="3140472"/>
              <a:ext cx="638174" cy="609600"/>
            </a:xfrm>
            <a:custGeom>
              <a:avLst/>
              <a:gdLst>
                <a:gd name="connsiteX0" fmla="*/ 619125 w 638174"/>
                <a:gd name="connsiteY0" fmla="*/ 590550 h 609600"/>
                <a:gd name="connsiteX1" fmla="*/ 57150 w 638174"/>
                <a:gd name="connsiteY1" fmla="*/ 590550 h 609600"/>
                <a:gd name="connsiteX2" fmla="*/ 19050 w 638174"/>
                <a:gd name="connsiteY2" fmla="*/ 552450 h 609600"/>
                <a:gd name="connsiteX3" fmla="*/ 57150 w 638174"/>
                <a:gd name="connsiteY3" fmla="*/ 514350 h 609600"/>
                <a:gd name="connsiteX4" fmla="*/ 133350 w 638174"/>
                <a:gd name="connsiteY4" fmla="*/ 514350 h 609600"/>
                <a:gd name="connsiteX5" fmla="*/ 133350 w 638174"/>
                <a:gd name="connsiteY5" fmla="*/ 114300 h 609600"/>
                <a:gd name="connsiteX6" fmla="*/ 603885 w 638174"/>
                <a:gd name="connsiteY6" fmla="*/ 114300 h 609600"/>
                <a:gd name="connsiteX7" fmla="*/ 622935 w 638174"/>
                <a:gd name="connsiteY7" fmla="*/ 95250 h 609600"/>
                <a:gd name="connsiteX8" fmla="*/ 133350 w 638174"/>
                <a:gd name="connsiteY8" fmla="*/ 95250 h 609600"/>
                <a:gd name="connsiteX9" fmla="*/ 133350 w 638174"/>
                <a:gd name="connsiteY9" fmla="*/ 0 h 609600"/>
                <a:gd name="connsiteX10" fmla="*/ 57150 w 638174"/>
                <a:gd name="connsiteY10" fmla="*/ 0 h 609600"/>
                <a:gd name="connsiteX11" fmla="*/ 0 w 638174"/>
                <a:gd name="connsiteY11" fmla="*/ 57150 h 609600"/>
                <a:gd name="connsiteX12" fmla="*/ 0 w 638174"/>
                <a:gd name="connsiteY12" fmla="*/ 552450 h 609600"/>
                <a:gd name="connsiteX13" fmla="*/ 57150 w 638174"/>
                <a:gd name="connsiteY13" fmla="*/ 609600 h 609600"/>
                <a:gd name="connsiteX14" fmla="*/ 638175 w 638174"/>
                <a:gd name="connsiteY14" fmla="*/ 609600 h 609600"/>
                <a:gd name="connsiteX15" fmla="*/ 638175 w 638174"/>
                <a:gd name="connsiteY15" fmla="*/ 280816 h 609600"/>
                <a:gd name="connsiteX16" fmla="*/ 619125 w 638174"/>
                <a:gd name="connsiteY16" fmla="*/ 299866 h 609600"/>
                <a:gd name="connsiteX17" fmla="*/ 19050 w 638174"/>
                <a:gd name="connsiteY17" fmla="*/ 57150 h 609600"/>
                <a:gd name="connsiteX18" fmla="*/ 57150 w 638174"/>
                <a:gd name="connsiteY18" fmla="*/ 19050 h 609600"/>
                <a:gd name="connsiteX19" fmla="*/ 114300 w 638174"/>
                <a:gd name="connsiteY19" fmla="*/ 19050 h 609600"/>
                <a:gd name="connsiteX20" fmla="*/ 114300 w 638174"/>
                <a:gd name="connsiteY20" fmla="*/ 495300 h 609600"/>
                <a:gd name="connsiteX21" fmla="*/ 57150 w 638174"/>
                <a:gd name="connsiteY21" fmla="*/ 495300 h 609600"/>
                <a:gd name="connsiteX22" fmla="*/ 19050 w 638174"/>
                <a:gd name="connsiteY22" fmla="*/ 509892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4" h="609600">
                  <a:moveTo>
                    <a:pt x="619125" y="590550"/>
                  </a:moveTo>
                  <a:lnTo>
                    <a:pt x="57150" y="590550"/>
                  </a:lnTo>
                  <a:cubicBezTo>
                    <a:pt x="36108" y="590550"/>
                    <a:pt x="19050" y="573492"/>
                    <a:pt x="19050" y="552450"/>
                  </a:cubicBezTo>
                  <a:cubicBezTo>
                    <a:pt x="19050" y="531408"/>
                    <a:pt x="36108" y="514350"/>
                    <a:pt x="57150" y="514350"/>
                  </a:cubicBezTo>
                  <a:lnTo>
                    <a:pt x="133350" y="514350"/>
                  </a:lnTo>
                  <a:lnTo>
                    <a:pt x="133350" y="114300"/>
                  </a:lnTo>
                  <a:lnTo>
                    <a:pt x="603885" y="114300"/>
                  </a:lnTo>
                  <a:lnTo>
                    <a:pt x="622935" y="95250"/>
                  </a:lnTo>
                  <a:lnTo>
                    <a:pt x="133350" y="95250"/>
                  </a:lnTo>
                  <a:lnTo>
                    <a:pt x="133350" y="0"/>
                  </a:lnTo>
                  <a:lnTo>
                    <a:pt x="57150" y="0"/>
                  </a:lnTo>
                  <a:cubicBezTo>
                    <a:pt x="25602" y="37"/>
                    <a:pt x="37" y="25602"/>
                    <a:pt x="0" y="57150"/>
                  </a:cubicBezTo>
                  <a:lnTo>
                    <a:pt x="0" y="552450"/>
                  </a:lnTo>
                  <a:cubicBezTo>
                    <a:pt x="37" y="583998"/>
                    <a:pt x="25602" y="609563"/>
                    <a:pt x="57150" y="609600"/>
                  </a:cubicBezTo>
                  <a:lnTo>
                    <a:pt x="638175" y="609600"/>
                  </a:lnTo>
                  <a:lnTo>
                    <a:pt x="638175" y="280816"/>
                  </a:lnTo>
                  <a:lnTo>
                    <a:pt x="619125" y="299866"/>
                  </a:lnTo>
                  <a:close/>
                  <a:moveTo>
                    <a:pt x="19050" y="57150"/>
                  </a:moveTo>
                  <a:cubicBezTo>
                    <a:pt x="19050" y="36108"/>
                    <a:pt x="36108" y="19050"/>
                    <a:pt x="57150" y="19050"/>
                  </a:cubicBezTo>
                  <a:lnTo>
                    <a:pt x="114300" y="19050"/>
                  </a:lnTo>
                  <a:lnTo>
                    <a:pt x="114300" y="495300"/>
                  </a:lnTo>
                  <a:lnTo>
                    <a:pt x="57150" y="495300"/>
                  </a:lnTo>
                  <a:cubicBezTo>
                    <a:pt x="43083" y="495291"/>
                    <a:pt x="29512" y="500489"/>
                    <a:pt x="19050" y="5098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5807D47-D036-CBD7-5DFC-6AAC2A383472}"/>
                </a:ext>
              </a:extLst>
            </p:cNvPr>
            <p:cNvSpPr/>
            <p:nvPr/>
          </p:nvSpPr>
          <p:spPr>
            <a:xfrm>
              <a:off x="5181042" y="3120746"/>
              <a:ext cx="641852" cy="534075"/>
            </a:xfrm>
            <a:custGeom>
              <a:avLst/>
              <a:gdLst>
                <a:gd name="connsiteX0" fmla="*/ 636270 w 641852"/>
                <a:gd name="connsiteY0" fmla="*/ 38966 h 534075"/>
                <a:gd name="connsiteX1" fmla="*/ 602933 w 641852"/>
                <a:gd name="connsiteY1" fmla="*/ 5628 h 534075"/>
                <a:gd name="connsiteX2" fmla="*/ 576438 w 641852"/>
                <a:gd name="connsiteY2" fmla="*/ 5348 h 534075"/>
                <a:gd name="connsiteX3" fmla="*/ 576158 w 641852"/>
                <a:gd name="connsiteY3" fmla="*/ 5628 h 534075"/>
                <a:gd name="connsiteX4" fmla="*/ 332975 w 641852"/>
                <a:gd name="connsiteY4" fmla="*/ 249278 h 534075"/>
                <a:gd name="connsiteX5" fmla="*/ 331680 w 641852"/>
                <a:gd name="connsiteY5" fmla="*/ 252307 h 534075"/>
                <a:gd name="connsiteX6" fmla="*/ 310963 w 641852"/>
                <a:gd name="connsiteY6" fmla="*/ 316324 h 534075"/>
                <a:gd name="connsiteX7" fmla="*/ 183109 w 641852"/>
                <a:gd name="connsiteY7" fmla="*/ 194490 h 534075"/>
                <a:gd name="connsiteX8" fmla="*/ 0 w 641852"/>
                <a:gd name="connsiteY8" fmla="*/ 368131 h 534075"/>
                <a:gd name="connsiteX9" fmla="*/ 42196 w 641852"/>
                <a:gd name="connsiteY9" fmla="*/ 410326 h 534075"/>
                <a:gd name="connsiteX10" fmla="*/ 42196 w 641852"/>
                <a:gd name="connsiteY10" fmla="*/ 534075 h 534075"/>
                <a:gd name="connsiteX11" fmla="*/ 166021 w 641852"/>
                <a:gd name="connsiteY11" fmla="*/ 534075 h 534075"/>
                <a:gd name="connsiteX12" fmla="*/ 166021 w 641852"/>
                <a:gd name="connsiteY12" fmla="*/ 424938 h 534075"/>
                <a:gd name="connsiteX13" fmla="*/ 199358 w 641852"/>
                <a:gd name="connsiteY13" fmla="*/ 424938 h 534075"/>
                <a:gd name="connsiteX14" fmla="*/ 199358 w 641852"/>
                <a:gd name="connsiteY14" fmla="*/ 534075 h 534075"/>
                <a:gd name="connsiteX15" fmla="*/ 323183 w 641852"/>
                <a:gd name="connsiteY15" fmla="*/ 534075 h 534075"/>
                <a:gd name="connsiteX16" fmla="*/ 323183 w 641852"/>
                <a:gd name="connsiteY16" fmla="*/ 390648 h 534075"/>
                <a:gd name="connsiteX17" fmla="*/ 182689 w 641852"/>
                <a:gd name="connsiteY17" fmla="*/ 257183 h 534075"/>
                <a:gd name="connsiteX18" fmla="*/ 45920 w 641852"/>
                <a:gd name="connsiteY18" fmla="*/ 387114 h 534075"/>
                <a:gd name="connsiteX19" fmla="*/ 27299 w 641852"/>
                <a:gd name="connsiteY19" fmla="*/ 368493 h 534075"/>
                <a:gd name="connsiteX20" fmla="*/ 183071 w 641852"/>
                <a:gd name="connsiteY20" fmla="*/ 220769 h 534075"/>
                <a:gd name="connsiteX21" fmla="*/ 305619 w 641852"/>
                <a:gd name="connsiteY21" fmla="*/ 337546 h 534075"/>
                <a:gd name="connsiteX22" fmla="*/ 389582 w 641852"/>
                <a:gd name="connsiteY22" fmla="*/ 310209 h 534075"/>
                <a:gd name="connsiteX23" fmla="*/ 393487 w 641852"/>
                <a:gd name="connsiteY23" fmla="*/ 308552 h 534075"/>
                <a:gd name="connsiteX24" fmla="*/ 635803 w 641852"/>
                <a:gd name="connsiteY24" fmla="*/ 65274 h 534075"/>
                <a:gd name="connsiteX25" fmla="*/ 637426 w 641852"/>
                <a:gd name="connsiteY25" fmla="*/ 40163 h 534075"/>
                <a:gd name="connsiteX26" fmla="*/ 636270 w 641852"/>
                <a:gd name="connsiteY26" fmla="*/ 38966 h 534075"/>
                <a:gd name="connsiteX27" fmla="*/ 61246 w 641852"/>
                <a:gd name="connsiteY27" fmla="*/ 398820 h 534075"/>
                <a:gd name="connsiteX28" fmla="*/ 182689 w 641852"/>
                <a:gd name="connsiteY28" fmla="*/ 283453 h 534075"/>
                <a:gd name="connsiteX29" fmla="*/ 304133 w 641852"/>
                <a:gd name="connsiteY29" fmla="*/ 398820 h 534075"/>
                <a:gd name="connsiteX30" fmla="*/ 304133 w 641852"/>
                <a:gd name="connsiteY30" fmla="*/ 515025 h 534075"/>
                <a:gd name="connsiteX31" fmla="*/ 218408 w 641852"/>
                <a:gd name="connsiteY31" fmla="*/ 515025 h 534075"/>
                <a:gd name="connsiteX32" fmla="*/ 218408 w 641852"/>
                <a:gd name="connsiteY32" fmla="*/ 405888 h 534075"/>
                <a:gd name="connsiteX33" fmla="*/ 146971 w 641852"/>
                <a:gd name="connsiteY33" fmla="*/ 405888 h 534075"/>
                <a:gd name="connsiteX34" fmla="*/ 146971 w 641852"/>
                <a:gd name="connsiteY34" fmla="*/ 515025 h 534075"/>
                <a:gd name="connsiteX35" fmla="*/ 61246 w 641852"/>
                <a:gd name="connsiteY35" fmla="*/ 515025 h 534075"/>
                <a:gd name="connsiteX36" fmla="*/ 386582 w 641852"/>
                <a:gd name="connsiteY36" fmla="*/ 288530 h 534075"/>
                <a:gd name="connsiteX37" fmla="*/ 383229 w 641852"/>
                <a:gd name="connsiteY37" fmla="*/ 291883 h 534075"/>
                <a:gd name="connsiteX38" fmla="*/ 343443 w 641852"/>
                <a:gd name="connsiteY38" fmla="*/ 305008 h 534075"/>
                <a:gd name="connsiteX39" fmla="*/ 336975 w 641852"/>
                <a:gd name="connsiteY39" fmla="*/ 298541 h 534075"/>
                <a:gd name="connsiteX40" fmla="*/ 350034 w 641852"/>
                <a:gd name="connsiteY40" fmla="*/ 259165 h 534075"/>
                <a:gd name="connsiteX41" fmla="*/ 353930 w 641852"/>
                <a:gd name="connsiteY41" fmla="*/ 255259 h 534075"/>
                <a:gd name="connsiteX42" fmla="*/ 366665 w 641852"/>
                <a:gd name="connsiteY42" fmla="*/ 251659 h 534075"/>
                <a:gd name="connsiteX43" fmla="*/ 383629 w 641852"/>
                <a:gd name="connsiteY43" fmla="*/ 258765 h 534075"/>
                <a:gd name="connsiteX44" fmla="*/ 386582 w 641852"/>
                <a:gd name="connsiteY44" fmla="*/ 288530 h 534075"/>
                <a:gd name="connsiteX45" fmla="*/ 576529 w 641852"/>
                <a:gd name="connsiteY45" fmla="*/ 98545 h 534075"/>
                <a:gd name="connsiteX46" fmla="*/ 408651 w 641852"/>
                <a:gd name="connsiteY46" fmla="*/ 266423 h 534075"/>
                <a:gd name="connsiteX47" fmla="*/ 375523 w 641852"/>
                <a:gd name="connsiteY47" fmla="*/ 233580 h 534075"/>
                <a:gd name="connsiteX48" fmla="*/ 543582 w 641852"/>
                <a:gd name="connsiteY48" fmla="*/ 65121 h 534075"/>
                <a:gd name="connsiteX49" fmla="*/ 546764 w 641852"/>
                <a:gd name="connsiteY49" fmla="*/ 61930 h 534075"/>
                <a:gd name="connsiteX50" fmla="*/ 579834 w 641852"/>
                <a:gd name="connsiteY50" fmla="*/ 94973 h 534075"/>
                <a:gd name="connsiteX51" fmla="*/ 592950 w 641852"/>
                <a:gd name="connsiteY51" fmla="*/ 81180 h 534075"/>
                <a:gd name="connsiteX52" fmla="*/ 560232 w 641852"/>
                <a:gd name="connsiteY52" fmla="*/ 48462 h 534075"/>
                <a:gd name="connsiteX53" fmla="*/ 589540 w 641852"/>
                <a:gd name="connsiteY53" fmla="*/ 19173 h 534075"/>
                <a:gd name="connsiteX54" fmla="*/ 622240 w 641852"/>
                <a:gd name="connsiteY54" fmla="*/ 51891 h 53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41852" h="534075">
                  <a:moveTo>
                    <a:pt x="636270" y="38966"/>
                  </a:moveTo>
                  <a:lnTo>
                    <a:pt x="602933" y="5628"/>
                  </a:lnTo>
                  <a:cubicBezTo>
                    <a:pt x="595694" y="-1765"/>
                    <a:pt x="583831" y="-1891"/>
                    <a:pt x="576438" y="5348"/>
                  </a:cubicBezTo>
                  <a:cubicBezTo>
                    <a:pt x="576343" y="5441"/>
                    <a:pt x="576250" y="5534"/>
                    <a:pt x="576158" y="5628"/>
                  </a:cubicBezTo>
                  <a:lnTo>
                    <a:pt x="332975" y="249278"/>
                  </a:lnTo>
                  <a:lnTo>
                    <a:pt x="331680" y="252307"/>
                  </a:lnTo>
                  <a:lnTo>
                    <a:pt x="310963" y="316324"/>
                  </a:lnTo>
                  <a:lnTo>
                    <a:pt x="183109" y="194490"/>
                  </a:lnTo>
                  <a:lnTo>
                    <a:pt x="0" y="368131"/>
                  </a:lnTo>
                  <a:lnTo>
                    <a:pt x="42196" y="410326"/>
                  </a:lnTo>
                  <a:lnTo>
                    <a:pt x="42196" y="534075"/>
                  </a:lnTo>
                  <a:lnTo>
                    <a:pt x="166021" y="534075"/>
                  </a:lnTo>
                  <a:lnTo>
                    <a:pt x="166021" y="424938"/>
                  </a:lnTo>
                  <a:lnTo>
                    <a:pt x="199358" y="424938"/>
                  </a:lnTo>
                  <a:lnTo>
                    <a:pt x="199358" y="534075"/>
                  </a:lnTo>
                  <a:lnTo>
                    <a:pt x="323183" y="534075"/>
                  </a:lnTo>
                  <a:lnTo>
                    <a:pt x="323183" y="390648"/>
                  </a:lnTo>
                  <a:lnTo>
                    <a:pt x="182689" y="257183"/>
                  </a:lnTo>
                  <a:lnTo>
                    <a:pt x="45920" y="387114"/>
                  </a:lnTo>
                  <a:lnTo>
                    <a:pt x="27299" y="368493"/>
                  </a:lnTo>
                  <a:lnTo>
                    <a:pt x="183071" y="220769"/>
                  </a:lnTo>
                  <a:lnTo>
                    <a:pt x="305619" y="337546"/>
                  </a:lnTo>
                  <a:lnTo>
                    <a:pt x="389582" y="310209"/>
                  </a:lnTo>
                  <a:lnTo>
                    <a:pt x="393487" y="308552"/>
                  </a:lnTo>
                  <a:lnTo>
                    <a:pt x="635803" y="65274"/>
                  </a:lnTo>
                  <a:cubicBezTo>
                    <a:pt x="643185" y="58788"/>
                    <a:pt x="643912" y="47546"/>
                    <a:pt x="637426" y="40163"/>
                  </a:cubicBezTo>
                  <a:cubicBezTo>
                    <a:pt x="637060" y="39747"/>
                    <a:pt x="636674" y="39347"/>
                    <a:pt x="636270" y="38966"/>
                  </a:cubicBezTo>
                  <a:close/>
                  <a:moveTo>
                    <a:pt x="61246" y="398820"/>
                  </a:moveTo>
                  <a:lnTo>
                    <a:pt x="182689" y="283453"/>
                  </a:lnTo>
                  <a:lnTo>
                    <a:pt x="304133" y="398820"/>
                  </a:lnTo>
                  <a:lnTo>
                    <a:pt x="304133" y="515025"/>
                  </a:lnTo>
                  <a:lnTo>
                    <a:pt x="218408" y="515025"/>
                  </a:lnTo>
                  <a:lnTo>
                    <a:pt x="218408" y="405888"/>
                  </a:lnTo>
                  <a:lnTo>
                    <a:pt x="146971" y="405888"/>
                  </a:lnTo>
                  <a:lnTo>
                    <a:pt x="146971" y="515025"/>
                  </a:lnTo>
                  <a:lnTo>
                    <a:pt x="61246" y="515025"/>
                  </a:lnTo>
                  <a:close/>
                  <a:moveTo>
                    <a:pt x="386582" y="288530"/>
                  </a:moveTo>
                  <a:lnTo>
                    <a:pt x="383229" y="291883"/>
                  </a:lnTo>
                  <a:lnTo>
                    <a:pt x="343443" y="305008"/>
                  </a:lnTo>
                  <a:lnTo>
                    <a:pt x="336975" y="298541"/>
                  </a:lnTo>
                  <a:lnTo>
                    <a:pt x="350034" y="259165"/>
                  </a:lnTo>
                  <a:lnTo>
                    <a:pt x="353930" y="255259"/>
                  </a:lnTo>
                  <a:cubicBezTo>
                    <a:pt x="357769" y="252923"/>
                    <a:pt x="362171" y="251678"/>
                    <a:pt x="366665" y="251659"/>
                  </a:cubicBezTo>
                  <a:cubicBezTo>
                    <a:pt x="373043" y="251660"/>
                    <a:pt x="379154" y="254220"/>
                    <a:pt x="383629" y="258765"/>
                  </a:cubicBezTo>
                  <a:cubicBezTo>
                    <a:pt x="391745" y="266636"/>
                    <a:pt x="392994" y="279218"/>
                    <a:pt x="386582" y="288530"/>
                  </a:cubicBezTo>
                  <a:close/>
                  <a:moveTo>
                    <a:pt x="576529" y="98545"/>
                  </a:moveTo>
                  <a:lnTo>
                    <a:pt x="408651" y="266423"/>
                  </a:lnTo>
                  <a:cubicBezTo>
                    <a:pt x="404999" y="249929"/>
                    <a:pt x="392048" y="237090"/>
                    <a:pt x="375523" y="233580"/>
                  </a:cubicBezTo>
                  <a:lnTo>
                    <a:pt x="543582" y="65121"/>
                  </a:lnTo>
                  <a:lnTo>
                    <a:pt x="546764" y="61930"/>
                  </a:lnTo>
                  <a:lnTo>
                    <a:pt x="579834" y="94973"/>
                  </a:lnTo>
                  <a:close/>
                  <a:moveTo>
                    <a:pt x="592950" y="81180"/>
                  </a:moveTo>
                  <a:lnTo>
                    <a:pt x="560232" y="48462"/>
                  </a:lnTo>
                  <a:lnTo>
                    <a:pt x="589540" y="19173"/>
                  </a:lnTo>
                  <a:lnTo>
                    <a:pt x="622240" y="518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247998-1933-2AD6-9AE9-CDC8C21F1B01}"/>
              </a:ext>
            </a:extLst>
          </p:cNvPr>
          <p:cNvGrpSpPr/>
          <p:nvPr/>
        </p:nvGrpSpPr>
        <p:grpSpPr>
          <a:xfrm>
            <a:off x="955536" y="3821828"/>
            <a:ext cx="883896" cy="1446899"/>
            <a:chOff x="955536" y="4587978"/>
            <a:chExt cx="1703073" cy="2786208"/>
          </a:xfrm>
        </p:grpSpPr>
        <p:grpSp>
          <p:nvGrpSpPr>
            <p:cNvPr id="28" name="Group 52">
              <a:extLst>
                <a:ext uri="{FF2B5EF4-FFF2-40B4-BE49-F238E27FC236}">
                  <a16:creationId xmlns:a16="http://schemas.microsoft.com/office/drawing/2014/main" id="{0300E51F-9E17-BE7E-ED4F-90673E89971E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32" name="Rectangle 53">
                <a:extLst>
                  <a:ext uri="{FF2B5EF4-FFF2-40B4-BE49-F238E27FC236}">
                    <a16:creationId xmlns:a16="http://schemas.microsoft.com/office/drawing/2014/main" id="{8534F536-7E59-1761-05DD-9DB2A5DEE510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id="{9D3BC9B5-949A-8CD2-37F2-BA878E417AFE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Oval 60">
                <a:extLst>
                  <a:ext uri="{FF2B5EF4-FFF2-40B4-BE49-F238E27FC236}">
                    <a16:creationId xmlns:a16="http://schemas.microsoft.com/office/drawing/2014/main" id="{091E3493-81E0-3EAE-38BD-231C75C3A4A4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35" name="Rectangle 61">
                <a:extLst>
                  <a:ext uri="{FF2B5EF4-FFF2-40B4-BE49-F238E27FC236}">
                    <a16:creationId xmlns:a16="http://schemas.microsoft.com/office/drawing/2014/main" id="{63FD4721-9A12-238F-9EED-C6022E7493C4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29" name="Grafik 28" descr="Schraubenschlüssel mit einfarbiger Füllung">
              <a:extLst>
                <a:ext uri="{FF2B5EF4-FFF2-40B4-BE49-F238E27FC236}">
                  <a16:creationId xmlns:a16="http://schemas.microsoft.com/office/drawing/2014/main" id="{3A26CF59-3619-DA37-8754-F8D063B46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30" name="Grafik 29" descr="Zahnräder mit einfarbiger Füllung">
              <a:extLst>
                <a:ext uri="{FF2B5EF4-FFF2-40B4-BE49-F238E27FC236}">
                  <a16:creationId xmlns:a16="http://schemas.microsoft.com/office/drawing/2014/main" id="{0C83ACE0-8145-185C-E994-EBF47A6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38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utloo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51104" y="667346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How</a:t>
            </a:r>
            <a:r>
              <a:rPr lang="de-DE" dirty="0"/>
              <a:t> could </a:t>
            </a:r>
            <a:r>
              <a:rPr lang="de-DE" dirty="0" err="1"/>
              <a:t>the</a:t>
            </a:r>
            <a:r>
              <a:rPr lang="de-DE" dirty="0"/>
              <a:t> Projec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improved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1950693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0558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52">
            <a:extLst>
              <a:ext uri="{FF2B5EF4-FFF2-40B4-BE49-F238E27FC236}">
                <a16:creationId xmlns:a16="http://schemas.microsoft.com/office/drawing/2014/main" id="{FC143D0D-E694-49B5-B47F-9A5BBFA66612}"/>
              </a:ext>
            </a:extLst>
          </p:cNvPr>
          <p:cNvGrpSpPr/>
          <p:nvPr/>
        </p:nvGrpSpPr>
        <p:grpSpPr>
          <a:xfrm>
            <a:off x="955536" y="4071792"/>
            <a:ext cx="1703073" cy="2786208"/>
            <a:chOff x="1803653" y="1995975"/>
            <a:chExt cx="1703073" cy="2786208"/>
          </a:xfrm>
        </p:grpSpPr>
        <p:sp>
          <p:nvSpPr>
            <p:cNvPr id="48" name="Rectangle 53">
              <a:extLst>
                <a:ext uri="{FF2B5EF4-FFF2-40B4-BE49-F238E27FC236}">
                  <a16:creationId xmlns:a16="http://schemas.microsoft.com/office/drawing/2014/main" id="{31985CC6-F3E9-2BA3-6719-EA64A2F89E3F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Oval 55">
              <a:extLst>
                <a:ext uri="{FF2B5EF4-FFF2-40B4-BE49-F238E27FC236}">
                  <a16:creationId xmlns:a16="http://schemas.microsoft.com/office/drawing/2014/main" id="{729729EE-E3EB-D38F-5E85-ED0B7B16C4E3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Oval 60">
              <a:extLst>
                <a:ext uri="{FF2B5EF4-FFF2-40B4-BE49-F238E27FC236}">
                  <a16:creationId xmlns:a16="http://schemas.microsoft.com/office/drawing/2014/main" id="{DB307EA9-317E-2F43-9C94-66EDF499BBD6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51" name="Rectangle 61">
              <a:extLst>
                <a:ext uri="{FF2B5EF4-FFF2-40B4-BE49-F238E27FC236}">
                  <a16:creationId xmlns:a16="http://schemas.microsoft.com/office/drawing/2014/main" id="{77585DEE-E8AC-A124-C749-F999FE301092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2611713"/>
            <a:ext cx="636141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More </a:t>
            </a:r>
            <a:r>
              <a:rPr lang="de-DE" dirty="0" err="1">
                <a:solidFill>
                  <a:srgbClr val="313131"/>
                </a:solidFill>
              </a:rPr>
              <a:t>detaile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nalysi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f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ur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best</a:t>
            </a:r>
            <a:r>
              <a:rPr lang="de-DE" dirty="0">
                <a:solidFill>
                  <a:srgbClr val="313131"/>
                </a:solidFill>
              </a:rPr>
              <a:t> Parameters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How</a:t>
            </a:r>
            <a:r>
              <a:rPr lang="de-DE" dirty="0">
                <a:solidFill>
                  <a:srgbClr val="313131"/>
                </a:solidFill>
              </a:rPr>
              <a:t> do the Parameters </a:t>
            </a:r>
            <a:r>
              <a:rPr lang="de-DE" dirty="0" err="1">
                <a:solidFill>
                  <a:srgbClr val="313131"/>
                </a:solidFill>
              </a:rPr>
              <a:t>influence</a:t>
            </a:r>
            <a:r>
              <a:rPr lang="de-DE" dirty="0">
                <a:solidFill>
                  <a:srgbClr val="313131"/>
                </a:solidFill>
              </a:rPr>
              <a:t> the </a:t>
            </a:r>
            <a:r>
              <a:rPr lang="de-DE" dirty="0" err="1">
                <a:solidFill>
                  <a:srgbClr val="313131"/>
                </a:solidFill>
              </a:rPr>
              <a:t>Shepherd‘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trategy</a:t>
            </a:r>
            <a:r>
              <a:rPr lang="de-DE" dirty="0">
                <a:solidFill>
                  <a:srgbClr val="313131"/>
                </a:solidFill>
              </a:rPr>
              <a:t>?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4736901"/>
            <a:ext cx="687177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Actual</a:t>
            </a:r>
            <a:r>
              <a:rPr lang="de-DE" dirty="0">
                <a:solidFill>
                  <a:srgbClr val="313131"/>
                </a:solidFill>
              </a:rPr>
              <a:t> Repulsion-Force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Fe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Introducing</a:t>
            </a:r>
            <a:r>
              <a:rPr lang="de-DE" dirty="0">
                <a:solidFill>
                  <a:srgbClr val="313131"/>
                </a:solidFill>
              </a:rPr>
              <a:t> additional Obstacles </a:t>
            </a:r>
            <a:r>
              <a:rPr lang="de-DE" dirty="0" err="1">
                <a:solidFill>
                  <a:srgbClr val="313131"/>
                </a:solidFill>
              </a:rPr>
              <a:t>along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Path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Herd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Target</a:t>
            </a:r>
          </a:p>
        </p:txBody>
      </p:sp>
      <p:pic>
        <p:nvPicPr>
          <p:cNvPr id="15" name="Grafik 14" descr="Lupe mit einfarbiger Füllung">
            <a:extLst>
              <a:ext uri="{FF2B5EF4-FFF2-40B4-BE49-F238E27FC236}">
                <a16:creationId xmlns:a16="http://schemas.microsoft.com/office/drawing/2014/main" id="{E99B9EC7-CF3C-E99B-2F9D-57D6C986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9872" y="2322750"/>
            <a:ext cx="914400" cy="914400"/>
          </a:xfrm>
          <a:prstGeom prst="rect">
            <a:avLst/>
          </a:prstGeom>
        </p:spPr>
      </p:pic>
      <p:pic>
        <p:nvPicPr>
          <p:cNvPr id="17" name="Grafik 16" descr="Vollziegelwand mit einfarbiger Füllung">
            <a:extLst>
              <a:ext uri="{FF2B5EF4-FFF2-40B4-BE49-F238E27FC236}">
                <a16:creationId xmlns:a16="http://schemas.microsoft.com/office/drawing/2014/main" id="{347A4F65-CC16-E1C8-5DB2-534515F7C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0687" y="4474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F3684AF-F82F-2FE1-F8AA-E5542EACBEA0}"/>
              </a:ext>
            </a:extLst>
          </p:cNvPr>
          <p:cNvSpPr txBox="1"/>
          <p:nvPr/>
        </p:nvSpPr>
        <p:spPr>
          <a:xfrm>
            <a:off x="1777307" y="1980148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”</a:t>
            </a:r>
            <a:endParaRPr lang="de-DE" sz="2800" i="1" dirty="0"/>
          </a:p>
        </p:txBody>
      </p:sp>
    </p:spTree>
    <p:extLst>
      <p:ext uri="{BB962C8B-B14F-4D97-AF65-F5344CB8AC3E}">
        <p14:creationId xmlns:p14="http://schemas.microsoft.com/office/powerpoint/2010/main" val="1169607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482 0.00208 L 0.00482 0.00208 C 0.00664 0.00648 0.00859 0.01111 0.01055 0.01551 C 0.01133 0.01713 0.01211 0.01875 0.01302 0.0199 C 0.01458 0.02176 0.01654 0.02268 0.0181 0.0243 C 0.01979 0.02615 0.02135 0.02847 0.02305 0.03032 C 0.03034 0.0375 0.03125 0.03773 0.03724 0.04213 C 0.04193 0.04907 0.04714 0.05509 0.05143 0.06296 C 0.05443 0.06828 0.05729 0.0743 0.06055 0.07916 C 0.06758 0.08912 0.075 0.09814 0.08229 0.1074 C 0.08464 0.11041 0.08698 0.11435 0.08971 0.1162 C 0.09687 0.12106 0.1181 0.13449 0.12721 0.14282 C 0.13216 0.14745 0.13646 0.15393 0.14141 0.15764 C 0.16263 0.1743 0.17031 0.17754 0.18893 0.1875 C 0.20417 0.18634 0.21953 0.18657 0.23477 0.18449 C 0.23958 0.18379 0.24414 0.18032 0.24896 0.17847 C 0.25299 0.17685 0.25729 0.17546 0.26146 0.17407 C 0.2681 0.16852 0.27409 0.15902 0.28138 0.15764 L 0.29062 0.15625 C 0.29531 0.15532 0.3 0.15416 0.30469 0.15324 C 0.30859 0.15254 0.3125 0.15254 0.31641 0.15185 L 0.34141 0.14745 C 0.34961 0.14467 0.37995 0.13472 0.38477 0.13102 C 0.38997 0.12708 0.39518 0.12291 0.40052 0.11921 C 0.40469 0.11643 0.40898 0.11481 0.41302 0.1118 C 0.41771 0.10833 0.42174 0.10324 0.42643 0.1 C 0.43073 0.09676 0.43542 0.09537 0.43971 0.09259 C 0.46354 0.07639 0.4457 0.08356 0.47135 0.07176 C 0.47969 0.06782 0.48802 0.06481 0.49635 0.06134 C 0.50026 0.05972 0.50417 0.05787 0.50807 0.05694 C 0.51003 0.05648 0.51198 0.05602 0.51393 0.05555 C 0.51849 0.0537 0.52565 0.05092 0.5306 0.04814 C 0.53555 0.04514 0.54102 0.04398 0.54557 0.03912 C 0.55091 0.03333 0.5569 0.02777 0.56146 0.0199 L 0.56719 0.00949 C 0.5681 0.0081 0.56875 0.00625 0.56979 0.00509 C 0.57057 0.00416 0.57148 0.00324 0.57227 0.00208 C 0.57318 0.00023 0.5737 -0.00232 0.57474 -0.00394 C 0.57539 -0.00486 0.57643 -0.00486 0.57721 -0.00533 C 0.58516 -0.01065 0.57825 -0.00648 0.58385 -0.00973 C 0.58568 -0.01459 0.5845 -0.01412 0.58646 -0.01412 " pathEditMode="relative" ptsTypes="AAAAAAAAAAAAAAAAAAAAAAAAAAAAAAAAAAAAAAAAA">
                                      <p:cBhvr>
                                        <p:cTn id="6" dur="4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339 0.00764 L 0.00339 0.00764 C 0.00443 0.01157 0.00521 0.01597 0.00664 0.01945 C 0.00768 0.02199 0.00951 0.02315 0.01081 0.02546 C 0.01237 0.02824 0.01367 0.03125 0.01498 0.03426 C 0.01979 0.04607 0.02487 0.05764 0.02917 0.06991 C 0.0306 0.07384 0.03177 0.07801 0.03333 0.08171 C 0.03425 0.08403 0.03542 0.08588 0.03659 0.08773 C 0.03789 0.08935 0.03945 0.09051 0.04076 0.09213 C 0.04688 0.09931 0.04154 0.09514 0.05078 0.10255 C 0.05547 0.10625 0.06042 0.1088 0.06498 0.11296 C 0.06888 0.11644 0.078 0.12523 0.08333 0.12778 C 0.08581 0.1287 0.09896 0.13056 0.1 0.13079 C 0.10612 0.1294 0.1237 0.12708 0.13242 0.12315 C 0.14063 0.11968 0.14857 0.11551 0.15664 0.11134 C 0.15938 0.10995 0.16224 0.10857 0.16498 0.10695 C 0.16745 0.10556 0.16992 0.10347 0.17253 0.10255 C 0.1763 0.10093 0.18021 0.10046 0.18412 0.09954 C 0.18971 0.09838 0.19531 0.09769 0.20078 0.09653 C 0.203 0.09607 0.20521 0.0956 0.20742 0.09514 C 0.20964 0.09352 0.21185 0.0919 0.21419 0.09074 C 0.2155 0.08982 0.21693 0.08982 0.21836 0.08912 C 0.22031 0.0882 0.22227 0.08727 0.22409 0.08611 C 0.22669 0.08472 0.22917 0.0831 0.23164 0.08171 C 0.23464 0.08009 0.23776 0.07894 0.24076 0.07732 C 0.24115 0.07708 0.25768 0.06806 0.26159 0.06389 C 0.26458 0.06088 0.26706 0.05695 0.26992 0.0537 C 0.27318 0.05 0.27669 0.04699 0.27995 0.04329 C 0.28307 0.03982 0.28594 0.03565 0.28919 0.03287 C 0.29076 0.03125 0.29258 0.03009 0.29414 0.02847 C 0.29583 0.02662 0.2974 0.02407 0.29909 0.02245 C 0.30352 0.01852 0.30521 0.01968 0.31003 0.01806 C 0.32057 0.01435 0.31302 0.01528 0.325 0.01204 C 0.33138 0.01042 0.33776 0.00903 0.34414 0.00764 L 0.35078 0.00625 C 0.35417 0.00324 0.35742 -0.00023 0.36081 -0.00278 C 0.36276 -0.00417 0.36485 -0.00509 0.36667 -0.00718 C 0.36849 -0.00926 0.36979 -0.0125 0.37162 -0.01458 C 0.37344 -0.01667 0.37565 -0.01713 0.37748 -0.01898 C 0.38034 -0.02176 0.38386 -0.02893 0.38581 -0.03241 C 0.38685 -0.03426 0.38789 -0.0368 0.38919 -0.03819 C 0.39492 -0.04514 0.39219 -0.04305 0.39662 -0.0456 C 0.403 -0.04375 0.40169 -0.04722 0.40169 -0.0368 " pathEditMode="relative" ptsTypes="AAAAAAAAAAAAAAAAAAAAAAAAAAAAAAAAAAAAAAAAAAA">
                                      <p:cBhvr>
                                        <p:cTn id="8" dur="4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208 0.00324 L 0.00208 0.00324 C 0.03151 0.00717 -0.00599 0.00115 0.02369 0.00902 C 0.02916 0.01064 0.03476 0.01111 0.04036 0.01203 C 0.04531 0.01296 0.05039 0.01435 0.05534 0.01504 C 0.06002 0.01574 0.06484 0.01574 0.06953 0.01643 C 0.07422 0.01736 0.0789 0.01898 0.08372 0.01944 C 0.09531 0.0206 0.10703 0.02037 0.11875 0.02106 C 0.16549 0.02592 0.13424 0.02314 0.23372 0.02106 C 0.24479 0.02083 0.25599 0.02013 0.26705 0.01944 C 0.29804 0.01805 0.29635 0.01782 0.33125 0.01504 C 0.34648 0.01088 0.34713 0.01111 0.36119 0.00625 C 0.3651 0.00486 0.36914 0.0037 0.37291 0.00162 C 0.37825 -0.00116 0.38346 -0.0051 0.38867 -0.00857 C 0.39401 -0.0125 0.39935 -0.01621 0.40455 -0.02061 C 0.41588 -0.0301 0.42174 -0.03866 0.43372 -0.04584 C 0.4444 -0.05209 0.45547 -0.05602 0.46627 -0.06204 L 0.4845 -0.07246 C 0.49648 -0.07894 0.51041 -0.08357 0.52044 -0.09769 C 0.52565 -0.1051 0.53047 -0.11389 0.53619 -0.11991 C 0.53958 -0.12338 0.54284 -0.12709 0.54622 -0.13033 C 0.5582 -0.14074 0.56849 -0.14699 0.58125 -0.15533 C 0.58203 -0.15602 0.59114 -0.16227 0.59284 -0.16274 C 0.59427 -0.16343 0.5957 -0.16366 0.597 -0.16436 C 0.59843 -0.16505 0.59987 -0.16621 0.60117 -0.16737 C 0.60521 -0.17037 0.60325 -0.17014 0.60547 -0.17014 " pathEditMode="relative" ptsTypes="AAAAAAAAAAAAAAAAAAAAAAAAAA">
                                      <p:cBhvr>
                                        <p:cTn id="10" dur="4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0.00313 -0.00487 L 0.00313 -0.00487 C 0.00834 -0.00556 0.01368 -0.00579 0.01888 -0.00649 C 0.02032 -0.00672 0.02175 -0.00718 0.02305 -0.00787 C 0.02487 -0.00903 0.02631 -0.01135 0.02813 -0.01227 C 0.04441 -0.02199 0.01693 -0.00047 0.04141 -0.01829 C 0.06381 -0.03473 0.03334 -0.01598 0.05222 -0.02709 C 0.06068 -0.03889 0.05821 -0.03519 0.06563 -0.04653 C 0.06576 -0.04676 0.07722 -0.06459 0.07813 -0.06574 C 0.08086 -0.06922 0.08347 -0.07292 0.08646 -0.07616 C 0.08803 -0.07778 0.08972 -0.07894 0.09141 -0.08056 C 0.09284 -0.08195 0.09415 -0.0838 0.09558 -0.08496 C 0.10261 -0.09074 0.09831 -0.08565 0.10469 -0.08936 C 0.10951 -0.09213 0.1142 -0.09537 0.11888 -0.09838 C 0.1211 -0.09977 0.12357 -0.10047 0.12553 -0.10278 C 0.13737 -0.11528 0.13099 -0.1088 0.1448 -0.12199 C 0.1461 -0.125 0.14714 -0.12871 0.14896 -0.13079 C 0.15964 -0.14399 0.16042 -0.14005 0.17227 -0.14561 C 0.17566 -0.14723 0.17891 -0.15 0.1823 -0.15162 C 0.18607 -0.15348 0.18998 -0.15487 0.19388 -0.15602 C 0.19662 -0.15695 0.19948 -0.15695 0.20222 -0.15764 C 0.20443 -0.15787 0.20665 -0.15857 0.20886 -0.15903 C 0.21172 -0.16042 0.21446 -0.16227 0.21719 -0.16343 C 0.22058 -0.16482 0.22396 -0.16482 0.22722 -0.16644 C 0.23008 -0.16783 0.23282 -0.17061 0.23555 -0.17246 C 0.25066 -0.18218 0.2362 -0.17153 0.24896 -0.18125 C 0.25092 -0.18473 0.25274 -0.18843 0.25469 -0.19167 C 0.25638 -0.19422 0.26394 -0.20394 0.26641 -0.20649 C 0.2711 -0.21112 0.27579 -0.21528 0.2806 -0.21968 C 0.2823 -0.2213 0.28412 -0.22223 0.28555 -0.22431 C 0.28776 -0.22709 0.28959 -0.23195 0.29219 -0.23311 L 0.29896 -0.23612 L 0.30222 -0.2375 C 0.30287 -0.23912 0.30313 -0.24074 0.30391 -0.2419 L 0.30899 -0.2463 " pathEditMode="relative" ptsTypes="AAAAAAAAAAAAAAAAAAAAAAAAAAAAAAAAAAA">
                                      <p:cBhvr>
                                        <p:cTn id="12" dur="4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481 -0.00255 L 0.00481 -0.00255 C 0.01224 -0.00463 0.01992 -0.00556 0.02721 -0.00857 C 0.03711 -0.01273 0.04557 -0.02685 0.0539 -0.03519 C 0.06341 -0.04468 0.07304 -0.0544 0.08307 -0.06181 C 0.12148 -0.09028 0.14596 -0.09908 0.18815 -0.11366 C 0.19935 -0.11759 0.21093 -0.11968 0.22226 -0.12269 C 0.22369 -0.12292 0.225 -0.12361 0.22643 -0.12408 C 0.23086 -0.1294 0.22981 -0.12871 0.23724 -0.1331 C 0.23893 -0.13403 0.24049 -0.13519 0.24231 -0.13588 C 0.24388 -0.13681 0.24557 -0.13681 0.24726 -0.1375 C 0.24869 -0.13797 0.25 -0.13843 0.25143 -0.13889 C 0.26953 -0.13797 0.2875 -0.13773 0.3056 -0.13588 C 0.3181 -0.13472 0.3082 -0.13357 0.31471 -0.13148 C 0.31718 -0.13079 0.31979 -0.13056 0.32226 -0.13009 C 0.32304 -0.12963 0.32395 -0.12894 0.32474 -0.12847 C 0.3289 -0.12662 0.33346 -0.12616 0.33724 -0.12269 C 0.33893 -0.12107 0.34062 -0.11945 0.34231 -0.11829 C 0.3431 -0.11759 0.34401 -0.11759 0.34479 -0.11667 C 0.34648 -0.11505 0.3483 -0.11343 0.34974 -0.11088 C 0.35143 -0.10787 0.3526 -0.10347 0.35481 -0.10185 C 0.35872 -0.09908 0.36432 -0.0956 0.3681 -0.09144 C 0.37135 -0.08797 0.37382 -0.08287 0.37643 -0.07824 C 0.37721 -0.07662 0.37825 -0.07547 0.3789 -0.07384 C 0.37955 -0.07222 0.3832 -0.06366 0.38476 -0.06181 C 0.38789 -0.05834 0.39036 -0.0588 0.39388 -0.05741 C 0.39505 -0.05718 0.39622 -0.05648 0.39726 -0.05602 C 0.40742 -0.04398 0.40273 -0.04815 0.4289 -0.0544 C 0.4302 -0.05486 0.42994 -0.05857 0.4306 -0.06042 C 0.43125 -0.06204 0.43229 -0.06343 0.43307 -0.06482 C 0.43333 -0.06644 0.43346 -0.06806 0.43398 -0.06922 C 0.43489 -0.07246 0.43658 -0.07477 0.43724 -0.07824 C 0.43763 -0.08033 0.43984 -0.09213 0.44062 -0.09445 C 0.44127 -0.0963 0.44231 -0.09746 0.4431 -0.09884 C 0.44401 -0.11088 0.44323 -0.11204 0.44726 -0.12269 L 0.45065 -0.13148 C 0.45117 -0.1331 0.45195 -0.13426 0.45221 -0.13588 C 0.45351 -0.14236 0.45338 -0.14468 0.4556 -0.14931 C 0.45638 -0.15093 0.45742 -0.15209 0.45807 -0.15371 C 0.45885 -0.15556 0.45911 -0.15787 0.45976 -0.15972 C 0.46106 -0.16366 0.46276 -0.16736 0.46393 -0.17153 C 0.46523 -0.17593 0.46588 -0.18056 0.46731 -0.18496 C 0.46953 -0.1919 0.47265 -0.19815 0.47474 -0.20556 C 0.47955 -0.22246 0.475 -0.20764 0.47981 -0.22037 C 0.48385 -0.23148 0.4806 -0.22477 0.48554 -0.23681 C 0.48919 -0.24514 0.49349 -0.25278 0.49648 -0.26181 C 0.49752 -0.26528 0.4983 -0.26922 0.49974 -0.27222 C 0.50286 -0.27871 0.50638 -0.28403 0.50976 -0.29005 C 0.51119 -0.29259 0.51224 -0.2956 0.51393 -0.29746 C 0.51536 -0.29884 0.51692 -0.3 0.5181 -0.30185 C 0.52304 -0.30926 0.52304 -0.30972 0.52565 -0.31667 C 0.52643 -0.325 0.52695 -0.33357 0.52812 -0.3419 C 0.52838 -0.34398 0.5319 -0.35417 0.53229 -0.35509 C 0.53307 -0.35718 0.53372 -0.35949 0.53476 -0.36111 C 0.53567 -0.3625 0.53698 -0.3632 0.53815 -0.36412 C 0.53906 -0.3706 0.53776 -0.36991 0.53984 -0.36991 " pathEditMode="relative" ptsTypes="AAAAAAAAAAAAAAAAAAAAAAAAAAAAAAAAAAAAAAAAAAAAAAAAAAAAAAAA">
                                      <p:cBhvr>
                                        <p:cTn id="14" dur="4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1134 L 0.00169 -0.01134 C -0.0013 -0.01435 -0.00456 -0.01667 -0.00742 -0.02037 C -0.00859 -0.02176 -0.00898 -0.02431 -0.0099 -0.02616 C -0.01068 -0.02778 -0.01159 -0.02917 -0.0125 -0.03056 C -0.01276 -0.03218 -0.01276 -0.0338 -0.01328 -0.03519 C -0.01419 -0.03704 -0.01549 -0.0382 -0.01667 -0.03958 C -0.0207 -0.04468 -0.01901 -0.04167 -0.025 -0.04838 C -0.02838 -0.05232 -0.03177 -0.05602 -0.0349 -0.06019 C -0.03763 -0.06389 -0.0401 -0.06782 -0.04245 -0.07222 C -0.0487 -0.08357 -0.05794 -0.1037 -0.06575 -0.11667 C -0.07708 -0.13542 -0.06771 -0.11945 -0.07825 -0.13426 C -0.0806 -0.13773 -0.08268 -0.14144 -0.0849 -0.14468 C -0.08711 -0.14792 -0.08971 -0.15 -0.09167 -0.1537 C -0.09453 -0.15903 -0.09635 -0.16574 -0.09909 -0.1713 C -0.11029 -0.19421 -0.11302 -0.19005 -0.12578 -0.22037 C -0.12825 -0.22616 -0.13099 -0.23195 -0.13333 -0.23796 C -0.13763 -0.24977 -0.14075 -0.26273 -0.14583 -0.27361 C -0.15026 -0.28333 -0.14935 -0.2794 -0.15495 -0.28704 C -0.16055 -0.29468 -0.16003 -0.29607 -0.16575 -0.30185 C -0.16901 -0.30486 -0.17227 -0.30857 -0.17578 -0.31065 C -0.17747 -0.31157 -0.17917 -0.31204 -0.18073 -0.31366 C -0.18503 -0.31759 -0.18932 -0.32199 -0.19323 -0.32685 C -0.20104 -0.33657 -0.20182 -0.33727 -0.20911 -0.34769 C -0.21615 -0.35764 -0.21758 -0.36042 -0.22331 -0.36852 C -0.22435 -0.36991 -0.22539 -0.37176 -0.22656 -0.37292 C -0.23099 -0.37639 -0.23516 -0.38148 -0.23997 -0.38333 C -0.25755 -0.38958 -0.23867 -0.38333 -0.25742 -0.38773 C -0.28099 -0.39306 -0.25391 -0.38866 -0.27747 -0.39213 C -0.27943 -0.39352 -0.28125 -0.39537 -0.28333 -0.39653 C -0.28932 -0.4 -0.2944 -0.4 -0.30078 -0.40255 C -0.30833 -0.40556 -0.31146 -0.40926 -0.31914 -0.41296 C -0.32292 -0.41458 -0.32695 -0.41551 -0.33073 -0.41736 C -0.33398 -0.41875 -0.34635 -0.42593 -0.35078 -0.42616 C -0.37383 -0.42755 -0.39687 -0.42708 -0.41992 -0.42755 C -0.44193 -0.42708 -0.4638 -0.42755 -0.48581 -0.42616 C -0.4875 -0.42616 -0.5 -0.41921 -0.50078 -0.41875 C -0.50352 -0.41528 -0.50638 -0.41204 -0.50911 -0.40833 C -0.51081 -0.40602 -0.51237 -0.40324 -0.51406 -0.40093 C -0.52031 -0.39259 -0.51875 -0.39722 -0.525 -0.38611 C -0.52747 -0.38171 -0.53008 -0.37269 -0.53333 -0.36991 C -0.5349 -0.36852 -0.53672 -0.36736 -0.53828 -0.36551 C -0.54102 -0.36227 -0.54049 -0.36065 -0.54245 -0.35648 C -0.54323 -0.35486 -0.54414 -0.3537 -0.54492 -0.35208 C -0.54753 -0.34144 -0.54753 -0.34259 -0.54909 -0.33148 C -0.55052 -0.32107 -0.55143 -0.31042 -0.55325 -0.30023 C -0.55378 -0.29722 -0.55456 -0.29445 -0.55495 -0.29144 C -0.55586 -0.28519 -0.55625 -0.27292 -0.55664 -0.26759 C -0.5569 -0.25093 -0.55703 -0.23403 -0.55742 -0.21736 C -0.55755 -0.21042 -0.5582 -0.20347 -0.5582 -0.19653 C -0.5582 -0.17269 -0.55794 -0.11898 -0.55573 -0.08982 C -0.5556 -0.08727 -0.55443 -0.08519 -0.55417 -0.08241 C -0.55338 -0.07755 -0.55299 -0.07269 -0.55247 -0.06759 C -0.5513 -0.05833 -0.55013 -0.05162 -0.54831 -0.04259 C -0.54753 -0.03889 -0.54674 -0.03542 -0.54583 -0.03218 C -0.54505 -0.02963 -0.54388 -0.02732 -0.54323 -0.02477 C -0.54193 -0.01898 -0.53997 -0.00695 -0.53997 -0.00695 C -0.53971 -0.00347 -0.53958 7.40741E-7 -0.53906 0.00347 C -0.53854 0.00741 -0.53698 0.01111 -0.53659 0.01528 C -0.53594 0.02268 -0.5362 0.03009 -0.53581 0.0375 C -0.53568 0.03912 -0.53516 0.04051 -0.5349 0.0419 C -0.53333 0.05509 -0.53529 0.04653 -0.53242 0.05671 C -0.53151 0.06505 -0.53073 0.07292 -0.52825 0.08055 C -0.52669 0.08495 -0.52109 0.09792 -0.51823 0.10116 L -0.51575 0.10417 C -0.51549 0.10555 -0.51549 0.10741 -0.51497 0.10856 C -0.51094 0.11574 -0.51107 0.11319 -0.50742 0.11597 C -0.50625 0.1169 -0.50521 0.11782 -0.50417 0.11898 C -0.50325 0.11991 -0.50247 0.1213 -0.50156 0.12199 C -0.5 0.12315 -0.4944 0.12454 -0.49323 0.125 C -0.48294 0.12338 -0.47266 0.12315 -0.4625 0.12037 C -0.46081 0.12014 -0.45977 0.11736 -0.45833 0.11597 C -0.4569 0.11481 -0.45547 0.11435 -0.45417 0.11296 C -0.45026 0.10926 -0.44792 0.10532 -0.44414 0.10278 C -0.44245 0.10139 -0.44075 0.10069 -0.43906 0.09977 C -0.43151 0.08958 -0.44023 0.1 -0.43164 0.09375 C -0.43008 0.09259 -0.42891 0.09051 -0.42747 0.08935 C -0.42474 0.0875 -0.42187 0.08634 -0.41914 0.08495 C -0.40807 0.0787 -0.42122 0.08495 -0.40573 0.07893 C -0.40352 0.07801 -0.4013 0.07662 -0.39909 0.07593 C -0.39492 0.07477 -0.39075 0.07407 -0.38659 0.07315 C -0.38516 0.07268 -0.38385 0.07199 -0.38242 0.07153 C -0.38073 0.07106 -0.37917 0.0706 -0.37747 0.07014 C -0.37604 0.06898 -0.37461 0.06805 -0.37331 0.06713 C -0.37044 0.06528 -0.36979 0.06551 -0.36667 0.06273 C -0.3651 0.06134 -0.3638 0.05949 -0.3625 0.05833 C -0.35195 0.04815 -0.36315 0.05972 -0.35156 0.0493 C -0.34075 0.03958 -0.35404 0.04954 -0.34323 0.0419 C -0.34088 0.0368 -0.33789 0.02986 -0.3349 0.02569 C -0.3319 0.0213 -0.32838 0.01805 -0.325 0.01528 C -0.32305 0.01366 -0.32096 0.0125 -0.31914 0.01088 C -0.31185 0.00486 -0.31419 0.00486 -0.30742 0.00347 C -0.30156 0.00231 -0.2957 0.00162 -0.28997 0.00046 L -0.275 -0.00255 C -0.2668 -0.00232 -0.23138 -0.00695 -0.21328 0.00185 C -0.20937 0.00393 -0.20338 0.0088 -0.2 0.01227 C -0.1987 0.01366 -0.19779 0.01551 -0.19661 0.01667 C -0.19258 0.02083 -0.19557 0.01505 -0.19167 0.0213 C -0.18984 0.02407 -0.18828 0.02708 -0.18659 0.03009 C -0.18581 0.03148 -0.18516 0.03356 -0.18411 0.03449 C -0.18216 0.03657 -0.18021 0.03866 -0.17825 0.04051 C -0.175 0.04352 -0.17122 0.04537 -0.16823 0.0493 C -0.16719 0.05093 -0.16615 0.05255 -0.16497 0.0537 C -0.16172 0.05694 -0.15833 0.05972 -0.15495 0.06273 L -0.14661 0.07014 C -0.14492 0.07153 -0.14323 0.07268 -0.14167 0.07454 C -0.1362 0.08079 -0.12474 0.09491 -0.11823 0.09815 C -0.11354 0.10069 -0.10898 0.1044 -0.10417 0.10555 C -0.10026 0.10671 -0.09635 0.10718 -0.09245 0.10856 C -0.08971 0.10949 -0.08685 0.11065 -0.08411 0.11157 C -0.08073 0.1125 -0.07734 0.11296 -0.07409 0.11458 C -0.07083 0.11597 -0.06758 0.11829 -0.06406 0.11898 C -0.04909 0.12153 -0.05859 0.12014 -0.03581 0.12199 L -0.00742 0.12037 C -0.00469 0.12014 -0.00182 0.11991 0.00091 0.11898 C 0.01016 0.11597 0.0026 0.11736 0.00833 0.11296 C 0.00951 0.11227 0.01055 0.11204 0.01172 0.11157 C 0.0125 0.11065 0.01328 0.10926 0.01419 0.10856 C 0.01589 0.10741 0.01927 0.10555 0.01927 0.10555 C 0.01979 0.10417 0.02018 0.10255 0.02083 0.10116 C 0.02383 0.09606 0.02526 0.09676 0.02669 0.09074 C 0.02865 0.08333 0.028 0.08148 0.03008 0.07454 C 0.03477 0.05903 0.03359 0.06366 0.0375 0.0537 C 0.03815 0.05231 0.03854 0.05069 0.03919 0.0493 C 0.03997 0.04768 0.04102 0.04653 0.04167 0.04491 C 0.04232 0.04352 0.04284 0.0419 0.04336 0.04051 C 0.0444 0.03796 0.04557 0.03542 0.04675 0.0331 C 0.04701 0.03102 0.04714 0.02893 0.04753 0.02708 C 0.04883 0.02199 0.05169 0.01227 0.05169 0.01227 C 0.05195 0.00972 0.05195 0.00718 0.0526 0.00486 C 0.05404 -0.00116 0.05755 -0.01296 0.05755 -0.01296 C 0.05781 -0.01644 0.05807 -0.01991 0.05833 -0.02315 C 0.05912 -0.02986 0.05977 -0.03079 0.06094 -0.03796 C 0.06185 -0.04398 0.06276 -0.04977 0.06341 -0.05579 C 0.06523 -0.07199 0.06237 -0.0632 0.06667 -0.07361 C 0.06758 -0.08102 0.06836 -0.08843 0.06927 -0.09583 C 0.06979 -0.10023 0.07044 -0.10463 0.07083 -0.10926 C 0.07122 -0.11204 0.07135 -0.11505 0.07175 -0.11806 C 0.0724 -0.12315 0.07344 -0.12801 0.07422 -0.13287 C 0.07565 -0.15232 0.07357 -0.13773 0.07917 -0.15648 C 0.08047 -0.16088 0.08138 -0.16551 0.08255 -0.16991 C 0.08333 -0.17292 0.08412 -0.17593 0.08503 -0.1787 C 0.08763 -0.18704 0.0918 -0.19861 0.09336 -0.20695 C 0.09388 -0.20995 0.09453 -0.21273 0.09505 -0.21574 C 0.0957 -0.21968 0.09609 -0.22384 0.09675 -0.22778 C 0.09844 -0.23773 0.09922 -0.23958 0.10169 -0.24838 C 0.10221 -0.25324 0.10313 -0.2581 0.10339 -0.2632 C 0.10365 -0.26921 0.10365 -0.27523 0.10417 -0.28102 C 0.10443 -0.2831 0.10573 -0.28472 0.10586 -0.28704 C 0.10625 -0.29144 0.10586 -0.29583 0.10586 -0.30023 " pathEditMode="relative" ptsTypes="AAAAAAAAAAAAAAAAAAAAAAAAAAAAAAAAAAAAAAAAAAAAAAAAAAAAAAAAAAAAAAAAAAAAAAAAAAAAAAAAAAAAAAAAAAAAAAAAAAAAAAAAAAAAAAAAAAAAAAAAAAAAAAAAAAAAAAAAAAAAAAAAAAAAAA">
                                      <p:cBhvr>
                                        <p:cTn id="16" dur="5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52067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rd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hepherd</a:t>
            </a: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>
                <a:solidFill>
                  <a:srgbClr val="0D8390"/>
                </a:solidFill>
              </a:rPr>
              <a:t>Sheep </a:t>
            </a:r>
            <a:r>
              <a:rPr lang="de-DE" sz="1600" b="1" dirty="0">
                <a:solidFill>
                  <a:srgbClr val="0D8390"/>
                </a:solidFill>
              </a:rPr>
              <a:t>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Rectangle 79">
                <a:extLst>
                  <a:ext uri="{FF2B5EF4-FFF2-40B4-BE49-F238E27FC236}">
                    <a16:creationId xmlns:a16="http://schemas.microsoft.com/office/drawing/2014/main" id="{B5652194-27C9-1428-3825-7C33B4BFD22D}"/>
                  </a:ext>
                </a:extLst>
              </p:cNvPr>
              <p:cNvSpPr/>
              <p:nvPr/>
            </p:nvSpPr>
            <p:spPr>
              <a:xfrm>
                <a:off x="881443" y="3977552"/>
                <a:ext cx="2951805" cy="1169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  <a:defRPr/>
                </a:pPr>
                <a:r>
                  <a:rPr lang="de-DE" sz="1400" dirty="0"/>
                  <a:t>Consists </a:t>
                </a:r>
                <a:r>
                  <a:rPr lang="de-DE" sz="1400" dirty="0" err="1"/>
                  <a:t>of</a:t>
                </a:r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 dirty="0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de-DE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 err="1"/>
                  <a:t>Agents</a:t>
                </a:r>
                <a:endParaRPr lang="de-DE" sz="1400" dirty="0"/>
              </a:p>
              <a:p>
                <a:pPr marL="285750" indent="-285750">
                  <a:buFont typeface="Arial" panose="020B0604020202020204" pitchFamily="34" charset="0"/>
                  <a:buChar char="•"/>
                  <a:defRPr/>
                </a:pPr>
                <a:r>
                  <a:rPr lang="de-DE" sz="1400" dirty="0"/>
                  <a:t>Move in a </a:t>
                </a:r>
                <a:r>
                  <a:rPr lang="de-DE" sz="1400" dirty="0" err="1"/>
                  <a:t>two</a:t>
                </a:r>
                <a:r>
                  <a:rPr lang="de-DE" sz="1400" dirty="0"/>
                  <a:t> dimensional Field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de-DE" sz="1400" dirty="0"/>
                  <a:t>Movement </a:t>
                </a:r>
                <a:r>
                  <a:rPr lang="de-DE" sz="1400" dirty="0" err="1"/>
                  <a:t>based</a:t>
                </a:r>
                <a:r>
                  <a:rPr lang="de-DE" sz="1400" dirty="0"/>
                  <a:t> on Reynolds’ </a:t>
                </a:r>
                <a:r>
                  <a:rPr lang="de-DE" sz="1400" dirty="0" err="1"/>
                  <a:t>Boids</a:t>
                </a:r>
                <a:r>
                  <a:rPr lang="de-DE" sz="1400" dirty="0"/>
                  <a:t> Model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endPara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72" name="Rectangle 79">
                <a:extLst>
                  <a:ext uri="{FF2B5EF4-FFF2-40B4-BE49-F238E27FC236}">
                    <a16:creationId xmlns:a16="http://schemas.microsoft.com/office/drawing/2014/main" id="{B5652194-27C9-1428-3825-7C33B4BFD22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443" y="3977552"/>
                <a:ext cx="2951805" cy="1169551"/>
              </a:xfrm>
              <a:prstGeom prst="rect">
                <a:avLst/>
              </a:prstGeom>
              <a:blipFill>
                <a:blip r:embed="rId4"/>
                <a:stretch>
                  <a:fillRect l="-413" t="-5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</a:t>
            </a:r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gents</a:t>
            </a:r>
            <a:endParaRPr lang="de-DE" sz="28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4" y="1880407"/>
            <a:ext cx="2694827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Alignment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Repulsion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Shepher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Interaction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Shepherd Interac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194726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 xmlns:m="http://schemas.openxmlformats.org/officeDocument/2006/math"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de-DE" dirty="0">
                    <a:solidFill>
                      <a:srgbClr val="313131"/>
                    </a:solidFill>
                  </a:rPr>
                  <a:t> are </a:t>
                </a:r>
                <a:r>
                  <a:rPr lang="de-DE" dirty="0" err="1">
                    <a:solidFill>
                      <a:srgbClr val="313131"/>
                    </a:solidFill>
                  </a:rPr>
                  <a:t>weights</a:t>
                </a:r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1947264" cy="276999"/>
              </a:xfrm>
              <a:prstGeom prst="rect">
                <a:avLst/>
              </a:prstGeom>
              <a:blipFill>
                <a:blip r:embed="rId5"/>
                <a:stretch>
                  <a:fillRect l="-3135" t="-28889" r="-7210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72593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b="0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mean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std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ol</m:t>
                    </m:r>
                  </m:oMath>
                </a14:m>
                <a:r>
                  <a:rPr lang="de-DE" dirty="0">
                    <a:solidFill>
                      <a:srgbClr val="313131"/>
                    </a:solidFill>
                  </a:rPr>
                  <a:t> </a:t>
                </a:r>
                <a:r>
                  <a:rPr lang="de-DE" i="0" dirty="0">
                    <a:solidFill>
                      <a:srgbClr val="313131"/>
                    </a:solidFill>
                    <a:latin typeface="+mj-lt"/>
                    <a:ea typeface="Cambria Math" panose="02040503050406030204" pitchFamily="18" charset="0"/>
                  </a:rPr>
                  <a:t>are weights</a:t>
                </a:r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725939" cy="276999"/>
              </a:xfrm>
              <a:prstGeom prst="rect">
                <a:avLst/>
              </a:prstGeom>
              <a:blipFill>
                <a:blip r:embed="rId10"/>
                <a:stretch>
                  <a:fillRect l="-2908" t="-28889" r="-4922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3</Words>
  <Application>Microsoft Office PowerPoint</Application>
  <PresentationFormat>Breitbild</PresentationFormat>
  <Paragraphs>247</Paragraphs>
  <Slides>27</Slides>
  <Notes>20</Notes>
  <HiddenSlides>3</HiddenSlides>
  <MMClips>5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PowerPoint-Präsentation</vt:lpstr>
      <vt:lpstr>Agenda </vt:lpstr>
      <vt:lpstr>Introduction: Shepherding Problem</vt:lpstr>
      <vt:lpstr>Introduction: Shepherding Problem</vt:lpstr>
      <vt:lpstr>Overview </vt:lpstr>
      <vt:lpstr>Model Description </vt:lpstr>
      <vt:lpstr>Model Description – Behaviour of Agents</vt:lpstr>
      <vt:lpstr>Model Description – Behaviour of Shepherd</vt:lpstr>
      <vt:lpstr>Agenda </vt:lpstr>
      <vt:lpstr>Findings </vt:lpstr>
      <vt:lpstr>Video: Droving </vt:lpstr>
      <vt:lpstr>Video: Mustering </vt:lpstr>
      <vt:lpstr>Video: Driving </vt:lpstr>
      <vt:lpstr>Overview </vt:lpstr>
      <vt:lpstr>Model Extensions</vt:lpstr>
      <vt:lpstr>Overview </vt:lpstr>
      <vt:lpstr>Results </vt:lpstr>
      <vt:lpstr>Results </vt:lpstr>
      <vt:lpstr>Video: Two Shepherds </vt:lpstr>
      <vt:lpstr>Video: Three Shepherds </vt:lpstr>
      <vt:lpstr>Results: Comparison of Timesteps needed</vt:lpstr>
      <vt:lpstr>Results: Benchmark Model</vt:lpstr>
      <vt:lpstr>Wrap up!</vt:lpstr>
      <vt:lpstr>Wrap up!</vt:lpstr>
      <vt:lpstr>Wrap up!</vt:lpstr>
      <vt:lpstr>Outlook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iska Weber</cp:lastModifiedBy>
  <cp:revision>12</cp:revision>
  <dcterms:created xsi:type="dcterms:W3CDTF">2024-01-03T20:27:13Z</dcterms:created>
  <dcterms:modified xsi:type="dcterms:W3CDTF">2024-01-15T12:20:48Z</dcterms:modified>
</cp:coreProperties>
</file>